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1"/>
  </p:notesMasterIdLst>
  <p:handoutMasterIdLst>
    <p:handoutMasterId r:id="rId12"/>
  </p:handoutMasterIdLst>
  <p:sldIdLst>
    <p:sldId id="468" r:id="rId2"/>
    <p:sldId id="503" r:id="rId3"/>
    <p:sldId id="564" r:id="rId4"/>
    <p:sldId id="462" r:id="rId5"/>
    <p:sldId id="574" r:id="rId6"/>
    <p:sldId id="485" r:id="rId7"/>
    <p:sldId id="575" r:id="rId8"/>
    <p:sldId id="580" r:id="rId9"/>
    <p:sldId id="500" r:id="rId10"/>
  </p:sldIdLst>
  <p:sldSz cx="9144000" cy="6858000" type="screen4x3"/>
  <p:notesSz cx="6797675" cy="9926638"/>
  <p:custDataLst>
    <p:tags r:id="rId13"/>
  </p:custDataLst>
  <p:defaultTextStyle>
    <a:defPPr>
      <a:defRPr lang="de-DE"/>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15:guide id="1" pos="363">
          <p15:clr>
            <a:srgbClr val="A4A3A4"/>
          </p15:clr>
        </p15:guide>
        <p15:guide id="2" pos="2608">
          <p15:clr>
            <a:srgbClr val="A4A3A4"/>
          </p15:clr>
        </p15:guide>
        <p15:guide id="3" pos="2789">
          <p15:clr>
            <a:srgbClr val="A4A3A4"/>
          </p15:clr>
        </p15:guide>
        <p15:guide id="4" pos="5035">
          <p15:clr>
            <a:srgbClr val="A4A3A4"/>
          </p15:clr>
        </p15:guide>
        <p15:guide id="5" orient="horz" pos="5269">
          <p15:clr>
            <a:srgbClr val="A4A3A4"/>
          </p15:clr>
        </p15:guide>
        <p15:guide id="6" orient="horz" pos="3997">
          <p15:clr>
            <a:srgbClr val="A4A3A4"/>
          </p15:clr>
        </p15:guide>
        <p15:guide id="7" orient="horz" pos="981">
          <p15:clr>
            <a:srgbClr val="A4A3A4"/>
          </p15:clr>
        </p15:guide>
        <p15:guide id="8" orient="horz" pos="1094">
          <p15:clr>
            <a:srgbClr val="A4A3A4"/>
          </p15:clr>
        </p15:guide>
        <p15:guide id="9" orient="horz" pos="913">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75A"/>
    <a:srgbClr val="0033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redný štýl 2 - zvýrazneni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Stredný štýl 2 - zvýraznenie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3C2FFA5D-87B4-456A-9821-1D502468CF0F}" styleName="Štýl s motívom 1 - zvýraznenie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Štýl s motívom 1 - zvýraznenie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0A15C55-8517-42AA-B614-E9B94910E393}" styleName="Stredný štýl 2 - zvýraznenie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488" autoAdjust="0"/>
    <p:restoredTop sz="88421" autoAdjust="0"/>
  </p:normalViewPr>
  <p:slideViewPr>
    <p:cSldViewPr>
      <p:cViewPr varScale="1">
        <p:scale>
          <a:sx n="97" d="100"/>
          <a:sy n="97" d="100"/>
        </p:scale>
        <p:origin x="1704" y="102"/>
      </p:cViewPr>
      <p:guideLst>
        <p:guide pos="363"/>
        <p:guide pos="2608"/>
        <p:guide pos="2789"/>
        <p:guide pos="5035"/>
        <p:guide orient="horz" pos="5269"/>
        <p:guide orient="horz" pos="3997"/>
        <p:guide orient="horz" pos="981"/>
        <p:guide orient="horz" pos="1094"/>
        <p:guide orient="horz" pos="913"/>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p:cViewPr varScale="1">
        <p:scale>
          <a:sx n="77" d="100"/>
          <a:sy n="77" d="100"/>
        </p:scale>
        <p:origin x="4080" y="9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eg"/><Relationship Id="rId1" Type="http://schemas.openxmlformats.org/officeDocument/2006/relationships/image" Target="../media/image10.jpg"/><Relationship Id="rId4" Type="http://schemas.openxmlformats.org/officeDocument/2006/relationships/image" Target="../media/image13.JPG"/></Relationships>
</file>

<file path=ppt/diagrams/_rels/drawing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eg"/><Relationship Id="rId1" Type="http://schemas.openxmlformats.org/officeDocument/2006/relationships/image" Target="../media/image10.jpg"/><Relationship Id="rId4" Type="http://schemas.openxmlformats.org/officeDocument/2006/relationships/image" Target="../media/image13.JP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43DF597-49EC-4869-AD32-C7E48F0F6AE1}" type="doc">
      <dgm:prSet loTypeId="urn:microsoft.com/office/officeart/2005/8/layout/pList2" loCatId="picture" qsTypeId="urn:microsoft.com/office/officeart/2005/8/quickstyle/simple1" qsCatId="simple" csTypeId="urn:microsoft.com/office/officeart/2005/8/colors/colorful2" csCatId="colorful" phldr="1"/>
      <dgm:spPr/>
      <dgm:t>
        <a:bodyPr/>
        <a:lstStyle/>
        <a:p>
          <a:endParaRPr lang="sk-SK"/>
        </a:p>
      </dgm:t>
    </dgm:pt>
    <dgm:pt modelId="{E04AC9D5-1BCA-4B01-A254-9C40C7D36917}">
      <dgm:prSet phldrT="[Text]" custT="1"/>
      <dgm:spPr/>
      <dgm:t>
        <a:bodyPr/>
        <a:lstStyle/>
        <a:p>
          <a:pPr algn="l"/>
          <a:r>
            <a:rPr lang="sk-SK" sz="1400" dirty="0"/>
            <a:t>Všetci odberatelia pripojení</a:t>
          </a:r>
        </a:p>
        <a:p>
          <a:pPr algn="l"/>
          <a:endParaRPr lang="sk-SK" sz="1400" dirty="0"/>
        </a:p>
        <a:p>
          <a:pPr algn="l"/>
          <a:r>
            <a:rPr lang="sk-SK" sz="1400" dirty="0"/>
            <a:t>Elektrické rozvody  vyhovujú platným normám STN </a:t>
          </a:r>
        </a:p>
        <a:p>
          <a:pPr algn="l"/>
          <a:endParaRPr lang="sk-SK" sz="1400" dirty="0"/>
        </a:p>
        <a:p>
          <a:pPr algn="l"/>
          <a:r>
            <a:rPr lang="sk-SK" sz="1400" dirty="0"/>
            <a:t>Bezpečná inštalácia</a:t>
          </a:r>
        </a:p>
        <a:p>
          <a:pPr algn="ctr"/>
          <a:endParaRPr lang="sk-SK" sz="1200" dirty="0"/>
        </a:p>
      </dgm:t>
    </dgm:pt>
    <dgm:pt modelId="{BDD72A52-98DC-4140-9B6E-A11062E67264}" type="sibTrans" cxnId="{17BA6A35-22B5-4711-A542-FBCA2040489D}">
      <dgm:prSet/>
      <dgm:spPr/>
      <dgm:t>
        <a:bodyPr/>
        <a:lstStyle/>
        <a:p>
          <a:endParaRPr lang="sk-SK" sz="1200">
            <a:solidFill>
              <a:schemeClr val="bg1"/>
            </a:solidFill>
          </a:endParaRPr>
        </a:p>
      </dgm:t>
    </dgm:pt>
    <dgm:pt modelId="{F8E708F3-5C8F-4C1D-8294-7B5E0761B135}" type="parTrans" cxnId="{17BA6A35-22B5-4711-A542-FBCA2040489D}">
      <dgm:prSet/>
      <dgm:spPr/>
      <dgm:t>
        <a:bodyPr/>
        <a:lstStyle/>
        <a:p>
          <a:endParaRPr lang="sk-SK"/>
        </a:p>
      </dgm:t>
    </dgm:pt>
    <dgm:pt modelId="{4AAE363B-73CF-4D5E-86DE-A09AAB30E8AA}">
      <dgm:prSet phldrT="[Text]" custT="1"/>
      <dgm:spPr/>
      <dgm:t>
        <a:bodyPr/>
        <a:lstStyle/>
        <a:p>
          <a:pPr algn="l"/>
          <a:r>
            <a:rPr lang="sk-SK" sz="1400" dirty="0"/>
            <a:t>Prvé vyúčtovania </a:t>
          </a:r>
        </a:p>
        <a:p>
          <a:pPr algn="l"/>
          <a:r>
            <a:rPr lang="sk-SK" sz="1400" dirty="0"/>
            <a:t>Nedoplatky, rušenie  zmlúv o dodávke</a:t>
          </a:r>
        </a:p>
        <a:p>
          <a:pPr algn="l"/>
          <a:r>
            <a:rPr lang="sk-SK" sz="1400" dirty="0"/>
            <a:t>Demontáž elektromerov </a:t>
          </a:r>
        </a:p>
        <a:p>
          <a:pPr algn="l"/>
          <a:r>
            <a:rPr lang="sk-SK" sz="1400" dirty="0"/>
            <a:t>Neodborné zásahy </a:t>
          </a:r>
          <a:br>
            <a:rPr lang="sk-SK" sz="1400" dirty="0"/>
          </a:br>
          <a:r>
            <a:rPr lang="sk-SK" sz="1400" dirty="0"/>
            <a:t>do elektroinštalácie</a:t>
          </a:r>
        </a:p>
        <a:p>
          <a:pPr algn="l"/>
          <a:r>
            <a:rPr lang="sk-SK" sz="1400" dirty="0"/>
            <a:t>Zistené krádeže elektriny</a:t>
          </a:r>
        </a:p>
        <a:p>
          <a:pPr algn="l"/>
          <a:r>
            <a:rPr lang="sk-SK" sz="1400" dirty="0"/>
            <a:t>Pokles počtu OM</a:t>
          </a:r>
        </a:p>
        <a:p>
          <a:pPr algn="l"/>
          <a:endParaRPr lang="sk-SK" sz="1400" dirty="0"/>
        </a:p>
      </dgm:t>
    </dgm:pt>
    <dgm:pt modelId="{E578D163-E2FD-4F78-82EF-5B0B881FED39}" type="sibTrans" cxnId="{13360F86-E456-420B-B48F-9343608CF0D8}">
      <dgm:prSet/>
      <dgm:spPr/>
      <dgm:t>
        <a:bodyPr/>
        <a:lstStyle/>
        <a:p>
          <a:endParaRPr lang="sk-SK"/>
        </a:p>
      </dgm:t>
    </dgm:pt>
    <dgm:pt modelId="{56A485F4-33C8-4F4E-B064-D7BD7C1424E3}" type="parTrans" cxnId="{13360F86-E456-420B-B48F-9343608CF0D8}">
      <dgm:prSet/>
      <dgm:spPr/>
      <dgm:t>
        <a:bodyPr/>
        <a:lstStyle/>
        <a:p>
          <a:endParaRPr lang="sk-SK"/>
        </a:p>
      </dgm:t>
    </dgm:pt>
    <dgm:pt modelId="{C34BAB0A-2ACF-4F47-AFA3-22F2041CDA8E}">
      <dgm:prSet phldrT="[Text]" custT="1"/>
      <dgm:spPr/>
      <dgm:t>
        <a:bodyPr/>
        <a:lstStyle/>
        <a:p>
          <a:pPr algn="l"/>
          <a:r>
            <a:rPr lang="sk-SK" sz="1400" dirty="0"/>
            <a:t>Riziko úrazu</a:t>
          </a:r>
        </a:p>
        <a:p>
          <a:pPr algn="l"/>
          <a:r>
            <a:rPr lang="sk-SK" sz="1400" dirty="0"/>
            <a:t>Riziko požiaru</a:t>
          </a:r>
        </a:p>
        <a:p>
          <a:pPr algn="l"/>
          <a:r>
            <a:rPr lang="sk-SK" sz="1400" dirty="0"/>
            <a:t>Nevyhovujúci technicky stav</a:t>
          </a:r>
        </a:p>
        <a:p>
          <a:pPr algn="l"/>
          <a:r>
            <a:rPr lang="sk-SK" sz="1400" dirty="0"/>
            <a:t>Minimálny počet legálne pripojených (1/3)</a:t>
          </a:r>
        </a:p>
        <a:p>
          <a:pPr algn="l"/>
          <a:r>
            <a:rPr lang="sk-SK" sz="1400" dirty="0"/>
            <a:t>Možnosť odpojenia bytovky zo strany VSD</a:t>
          </a:r>
        </a:p>
        <a:p>
          <a:pPr algn="l"/>
          <a:r>
            <a:rPr lang="sk-SK" sz="1400" dirty="0"/>
            <a:t>Vandalizmus</a:t>
          </a:r>
        </a:p>
        <a:p>
          <a:pPr algn="l"/>
          <a:r>
            <a:rPr lang="sk-SK" sz="1400" dirty="0"/>
            <a:t>Poškodzovanie elektroinštalácie </a:t>
          </a:r>
        </a:p>
        <a:p>
          <a:pPr algn="ctr"/>
          <a:endParaRPr lang="sk-SK" sz="1400" dirty="0"/>
        </a:p>
      </dgm:t>
    </dgm:pt>
    <dgm:pt modelId="{DA5D718C-0C1F-48C2-9D4A-CADDFF7E74C2}" type="sibTrans" cxnId="{5BEB2D07-F380-44FB-9F1F-1D718F9984A4}">
      <dgm:prSet/>
      <dgm:spPr/>
      <dgm:t>
        <a:bodyPr/>
        <a:lstStyle/>
        <a:p>
          <a:endParaRPr lang="sk-SK"/>
        </a:p>
      </dgm:t>
    </dgm:pt>
    <dgm:pt modelId="{EB688E5A-82AD-425C-B35D-A685E4802583}" type="parTrans" cxnId="{5BEB2D07-F380-44FB-9F1F-1D718F9984A4}">
      <dgm:prSet/>
      <dgm:spPr/>
      <dgm:t>
        <a:bodyPr/>
        <a:lstStyle/>
        <a:p>
          <a:endParaRPr lang="sk-SK"/>
        </a:p>
      </dgm:t>
    </dgm:pt>
    <dgm:pt modelId="{9AF7ACFF-FF1B-4282-A1EE-80078AD93E7B}">
      <dgm:prSet custT="1"/>
      <dgm:spPr/>
      <dgm:t>
        <a:bodyPr/>
        <a:lstStyle/>
        <a:p>
          <a:pPr marL="0" lvl="0" algn="l" defTabSz="622300">
            <a:lnSpc>
              <a:spcPct val="90000"/>
            </a:lnSpc>
            <a:spcBef>
              <a:spcPct val="0"/>
            </a:spcBef>
            <a:spcAft>
              <a:spcPct val="35000"/>
            </a:spcAft>
            <a:buNone/>
          </a:pPr>
          <a:r>
            <a:rPr lang="sk-SK" sz="1400" dirty="0"/>
            <a:t>Zvyšuje sa počet krádeží elektriny</a:t>
          </a:r>
        </a:p>
        <a:p>
          <a:pPr marL="0" lvl="0" algn="l" defTabSz="622300">
            <a:lnSpc>
              <a:spcPct val="90000"/>
            </a:lnSpc>
            <a:spcBef>
              <a:spcPct val="0"/>
            </a:spcBef>
            <a:spcAft>
              <a:spcPct val="35000"/>
            </a:spcAft>
            <a:buNone/>
          </a:pPr>
          <a:r>
            <a:rPr lang="sk-SK" sz="1400" dirty="0"/>
            <a:t>Prepájanie bytov, predaj elektriny, úžera</a:t>
          </a:r>
        </a:p>
        <a:p>
          <a:pPr marL="0" marR="0" lvl="0" indent="0" algn="l" defTabSz="914400" eaLnBrk="1" fontAlgn="auto" latinLnBrk="0" hangingPunct="1">
            <a:lnSpc>
              <a:spcPct val="100000"/>
            </a:lnSpc>
            <a:spcBef>
              <a:spcPts val="0"/>
            </a:spcBef>
            <a:spcAft>
              <a:spcPts val="0"/>
            </a:spcAft>
            <a:buClrTx/>
            <a:buSzTx/>
            <a:buFontTx/>
            <a:buNone/>
            <a:tabLst/>
            <a:defRPr/>
          </a:pPr>
          <a:r>
            <a:rPr lang="sk-SK" sz="1400" dirty="0"/>
            <a:t>Preťažovanie elektroinštalácie, poruchy, výpadky</a:t>
          </a:r>
        </a:p>
        <a:p>
          <a:pPr marL="0" marR="0" lvl="0" indent="0" algn="l" defTabSz="914400" eaLnBrk="1" fontAlgn="auto" latinLnBrk="0" hangingPunct="1">
            <a:lnSpc>
              <a:spcPct val="100000"/>
            </a:lnSpc>
            <a:spcBef>
              <a:spcPts val="0"/>
            </a:spcBef>
            <a:spcAft>
              <a:spcPts val="0"/>
            </a:spcAft>
            <a:buClrTx/>
            <a:buSzTx/>
            <a:buFontTx/>
            <a:buNone/>
            <a:tabLst/>
            <a:defRPr/>
          </a:pPr>
          <a:endParaRPr lang="sk-SK" sz="1400" dirty="0"/>
        </a:p>
        <a:p>
          <a:pPr marL="0" lvl="0" algn="l" defTabSz="622300">
            <a:lnSpc>
              <a:spcPct val="90000"/>
            </a:lnSpc>
            <a:spcBef>
              <a:spcPct val="0"/>
            </a:spcBef>
            <a:spcAft>
              <a:spcPct val="35000"/>
            </a:spcAft>
            <a:buNone/>
          </a:pPr>
          <a:r>
            <a:rPr lang="sk-SK" sz="1400" dirty="0"/>
            <a:t>Vandalizmus</a:t>
          </a:r>
        </a:p>
        <a:p>
          <a:pPr marL="0" lvl="0" algn="l" defTabSz="622300">
            <a:lnSpc>
              <a:spcPct val="90000"/>
            </a:lnSpc>
            <a:spcBef>
              <a:spcPct val="0"/>
            </a:spcBef>
            <a:spcAft>
              <a:spcPct val="35000"/>
            </a:spcAft>
            <a:buNone/>
          </a:pPr>
          <a:r>
            <a:rPr lang="sk-SK" sz="1400" dirty="0"/>
            <a:t>Poškodzovanie elektroinštalácie  </a:t>
          </a:r>
        </a:p>
      </dgm:t>
    </dgm:pt>
    <dgm:pt modelId="{1C265E83-BB18-4E29-99FF-0760DCD8157F}" type="parTrans" cxnId="{4BE9CBD7-FBDE-4438-8733-A4345B401005}">
      <dgm:prSet/>
      <dgm:spPr/>
      <dgm:t>
        <a:bodyPr/>
        <a:lstStyle/>
        <a:p>
          <a:endParaRPr lang="sk-SK"/>
        </a:p>
      </dgm:t>
    </dgm:pt>
    <dgm:pt modelId="{B23D3B25-6FCD-47B7-8A3D-F95FD91DBE26}" type="sibTrans" cxnId="{4BE9CBD7-FBDE-4438-8733-A4345B401005}">
      <dgm:prSet/>
      <dgm:spPr/>
      <dgm:t>
        <a:bodyPr/>
        <a:lstStyle/>
        <a:p>
          <a:endParaRPr lang="sk-SK"/>
        </a:p>
      </dgm:t>
    </dgm:pt>
    <dgm:pt modelId="{BAC58115-AFF4-4B65-9333-593F1454F5E5}" type="pres">
      <dgm:prSet presAssocID="{C43DF597-49EC-4869-AD32-C7E48F0F6AE1}" presName="Name0" presStyleCnt="0">
        <dgm:presLayoutVars>
          <dgm:dir/>
          <dgm:resizeHandles val="exact"/>
        </dgm:presLayoutVars>
      </dgm:prSet>
      <dgm:spPr/>
    </dgm:pt>
    <dgm:pt modelId="{D75AC1A1-7313-4EAE-ADE7-AD129A089720}" type="pres">
      <dgm:prSet presAssocID="{C43DF597-49EC-4869-AD32-C7E48F0F6AE1}" presName="bkgdShp" presStyleLbl="alignAccFollowNode1" presStyleIdx="0" presStyleCnt="1" custLinFactNeighborX="-888" custLinFactNeighborY="12727"/>
      <dgm:spPr/>
    </dgm:pt>
    <dgm:pt modelId="{B129B29E-BDBB-452B-8FCE-1E7035B56067}" type="pres">
      <dgm:prSet presAssocID="{C43DF597-49EC-4869-AD32-C7E48F0F6AE1}" presName="linComp" presStyleCnt="0"/>
      <dgm:spPr/>
    </dgm:pt>
    <dgm:pt modelId="{88251C4E-A9A9-4B9A-80E3-E9072F915F95}" type="pres">
      <dgm:prSet presAssocID="{E04AC9D5-1BCA-4B01-A254-9C40C7D36917}" presName="compNode" presStyleCnt="0"/>
      <dgm:spPr/>
    </dgm:pt>
    <dgm:pt modelId="{E7AB7E48-DD0A-4FD3-A476-4FCF10FEC2BC}" type="pres">
      <dgm:prSet presAssocID="{E04AC9D5-1BCA-4B01-A254-9C40C7D36917}" presName="node" presStyleLbl="node1" presStyleIdx="0" presStyleCnt="4" custScaleY="112601" custLinFactNeighborX="-2038" custLinFactNeighborY="-5310">
        <dgm:presLayoutVars>
          <dgm:bulletEnabled val="1"/>
        </dgm:presLayoutVars>
      </dgm:prSet>
      <dgm:spPr/>
    </dgm:pt>
    <dgm:pt modelId="{2DC8682C-ACAD-48A4-AFFC-72A5E4003018}" type="pres">
      <dgm:prSet presAssocID="{E04AC9D5-1BCA-4B01-A254-9C40C7D36917}" presName="invisiNode" presStyleLbl="node1" presStyleIdx="0" presStyleCnt="4"/>
      <dgm:spPr/>
    </dgm:pt>
    <dgm:pt modelId="{327F1A22-8360-4D07-916A-3416153E1468}" type="pres">
      <dgm:prSet presAssocID="{E04AC9D5-1BCA-4B01-A254-9C40C7D36917}" presName="imagNode" presStyleLbl="fgImgPlace1" presStyleIdx="0" presStyleCnt="4" custScaleX="98839" custScaleY="76510" custLinFactNeighborX="1" custLinFactNeighborY="2007"/>
      <dgm:spPr>
        <a:blipFill>
          <a:blip xmlns:r="http://schemas.openxmlformats.org/officeDocument/2006/relationships" r:embed="rId1">
            <a:extLst>
              <a:ext uri="{28A0092B-C50C-407E-A947-70E740481C1C}">
                <a14:useLocalDpi xmlns:a14="http://schemas.microsoft.com/office/drawing/2010/main" val="0"/>
              </a:ext>
            </a:extLst>
          </a:blip>
          <a:srcRect/>
          <a:stretch>
            <a:fillRect l="-12000" r="-12000"/>
          </a:stretch>
        </a:blipFill>
      </dgm:spPr>
    </dgm:pt>
    <dgm:pt modelId="{93525236-4707-46E6-87BB-3E0B09D9C533}" type="pres">
      <dgm:prSet presAssocID="{BDD72A52-98DC-4140-9B6E-A11062E67264}" presName="sibTrans" presStyleLbl="sibTrans2D1" presStyleIdx="0" presStyleCnt="0"/>
      <dgm:spPr/>
    </dgm:pt>
    <dgm:pt modelId="{713A7185-8165-4416-84F0-CAA2E5AE6CDF}" type="pres">
      <dgm:prSet presAssocID="{4AAE363B-73CF-4D5E-86DE-A09AAB30E8AA}" presName="compNode" presStyleCnt="0"/>
      <dgm:spPr/>
    </dgm:pt>
    <dgm:pt modelId="{8DB092A1-34D8-418F-A988-337D87FCBEE3}" type="pres">
      <dgm:prSet presAssocID="{4AAE363B-73CF-4D5E-86DE-A09AAB30E8AA}" presName="node" presStyleLbl="node1" presStyleIdx="1" presStyleCnt="4" custScaleY="112601" custLinFactNeighborX="-2038" custLinFactNeighborY="-5310">
        <dgm:presLayoutVars>
          <dgm:bulletEnabled val="1"/>
        </dgm:presLayoutVars>
      </dgm:prSet>
      <dgm:spPr/>
    </dgm:pt>
    <dgm:pt modelId="{5D9AE9B0-3C96-4913-B038-FC912581338D}" type="pres">
      <dgm:prSet presAssocID="{4AAE363B-73CF-4D5E-86DE-A09AAB30E8AA}" presName="invisiNode" presStyleLbl="node1" presStyleIdx="1" presStyleCnt="4"/>
      <dgm:spPr/>
    </dgm:pt>
    <dgm:pt modelId="{9B6F06B5-8858-4F74-91C6-EAA83F0E33E3}" type="pres">
      <dgm:prSet presAssocID="{4AAE363B-73CF-4D5E-86DE-A09AAB30E8AA}" presName="imagNode" presStyleLbl="fgImgPlace1" presStyleIdx="1" presStyleCnt="4" custScaleY="75916" custLinFactX="100000" custLinFactNeighborX="123086" custLinFactNeighborY="-782"/>
      <dgm:spPr>
        <a:blipFill rotWithShape="1">
          <a:blip xmlns:r="http://schemas.openxmlformats.org/officeDocument/2006/relationships" r:embed="rId2" cstate="print"/>
          <a:srcRect/>
          <a:stretch>
            <a:fillRect t="-5000" b="-5000"/>
          </a:stretch>
        </a:blipFill>
      </dgm:spPr>
    </dgm:pt>
    <dgm:pt modelId="{AD376FFB-2C29-4CEC-A4FF-6B963F5C45F8}" type="pres">
      <dgm:prSet presAssocID="{E578D163-E2FD-4F78-82EF-5B0B881FED39}" presName="sibTrans" presStyleLbl="sibTrans2D1" presStyleIdx="0" presStyleCnt="0"/>
      <dgm:spPr/>
    </dgm:pt>
    <dgm:pt modelId="{4C702D76-678A-49A8-8598-CCB0FAB42658}" type="pres">
      <dgm:prSet presAssocID="{9AF7ACFF-FF1B-4282-A1EE-80078AD93E7B}" presName="compNode" presStyleCnt="0"/>
      <dgm:spPr/>
    </dgm:pt>
    <dgm:pt modelId="{C8C4E0F0-B23A-428A-98D2-0C2144E7B0BF}" type="pres">
      <dgm:prSet presAssocID="{9AF7ACFF-FF1B-4282-A1EE-80078AD93E7B}" presName="node" presStyleLbl="node1" presStyleIdx="2" presStyleCnt="4" custScaleY="112601" custLinFactNeighborX="-2038" custLinFactNeighborY="-5310">
        <dgm:presLayoutVars>
          <dgm:bulletEnabled val="1"/>
        </dgm:presLayoutVars>
      </dgm:prSet>
      <dgm:spPr/>
    </dgm:pt>
    <dgm:pt modelId="{457135C1-6E16-490D-8A5C-680194E32CEB}" type="pres">
      <dgm:prSet presAssocID="{9AF7ACFF-FF1B-4282-A1EE-80078AD93E7B}" presName="invisiNode" presStyleLbl="node1" presStyleIdx="2" presStyleCnt="4"/>
      <dgm:spPr/>
    </dgm:pt>
    <dgm:pt modelId="{BD3D8042-5BBF-4B80-8876-E8F08C58CB3A}" type="pres">
      <dgm:prSet presAssocID="{9AF7ACFF-FF1B-4282-A1EE-80078AD93E7B}" presName="imagNode" presStyleLbl="fgImgPlace1" presStyleIdx="2" presStyleCnt="4" custScaleY="75916" custLinFactX="-14237" custLinFactNeighborX="-100000" custLinFactNeighborY="123"/>
      <dgm:spPr>
        <a:blipFill>
          <a:blip xmlns:r="http://schemas.openxmlformats.org/officeDocument/2006/relationships" r:embed="rId3">
            <a:extLst>
              <a:ext uri="{28A0092B-C50C-407E-A947-70E740481C1C}">
                <a14:useLocalDpi xmlns:a14="http://schemas.microsoft.com/office/drawing/2010/main" val="0"/>
              </a:ext>
            </a:extLst>
          </a:blip>
          <a:srcRect/>
          <a:stretch>
            <a:fillRect t="-5000" b="-5000"/>
          </a:stretch>
        </a:blipFill>
      </dgm:spPr>
    </dgm:pt>
    <dgm:pt modelId="{3A516A89-36C8-4A5B-8C36-E3D34E874C7E}" type="pres">
      <dgm:prSet presAssocID="{B23D3B25-6FCD-47B7-8A3D-F95FD91DBE26}" presName="sibTrans" presStyleLbl="sibTrans2D1" presStyleIdx="0" presStyleCnt="0"/>
      <dgm:spPr/>
    </dgm:pt>
    <dgm:pt modelId="{61444DE2-6E3E-480C-B817-40A4FFD9068D}" type="pres">
      <dgm:prSet presAssocID="{C34BAB0A-2ACF-4F47-AFA3-22F2041CDA8E}" presName="compNode" presStyleCnt="0"/>
      <dgm:spPr/>
    </dgm:pt>
    <dgm:pt modelId="{BA39679A-3C29-49B1-B7C9-520C73677AE6}" type="pres">
      <dgm:prSet presAssocID="{C34BAB0A-2ACF-4F47-AFA3-22F2041CDA8E}" presName="node" presStyleLbl="node1" presStyleIdx="3" presStyleCnt="4" custScaleY="112601" custLinFactNeighborX="667" custLinFactNeighborY="-5310">
        <dgm:presLayoutVars>
          <dgm:bulletEnabled val="1"/>
        </dgm:presLayoutVars>
      </dgm:prSet>
      <dgm:spPr/>
    </dgm:pt>
    <dgm:pt modelId="{F39A0F01-9F74-4896-B933-D3C29FEAA5F0}" type="pres">
      <dgm:prSet presAssocID="{C34BAB0A-2ACF-4F47-AFA3-22F2041CDA8E}" presName="invisiNode" presStyleLbl="node1" presStyleIdx="3" presStyleCnt="4"/>
      <dgm:spPr/>
    </dgm:pt>
    <dgm:pt modelId="{835BF62C-3342-4E69-9F44-AA3A395A8512}" type="pres">
      <dgm:prSet presAssocID="{C34BAB0A-2ACF-4F47-AFA3-22F2041CDA8E}" presName="imagNode" presStyleLbl="fgImgPlace1" presStyleIdx="3" presStyleCnt="4" custScaleY="75916" custLinFactX="-9775" custLinFactNeighborX="-100000" custLinFactNeighborY="123"/>
      <dgm:spPr>
        <a:blipFill>
          <a:blip xmlns:r="http://schemas.openxmlformats.org/officeDocument/2006/relationships" r:embed="rId4">
            <a:extLst>
              <a:ext uri="{28A0092B-C50C-407E-A947-70E740481C1C}">
                <a14:useLocalDpi xmlns:a14="http://schemas.microsoft.com/office/drawing/2010/main" val="0"/>
              </a:ext>
            </a:extLst>
          </a:blip>
          <a:srcRect/>
          <a:stretch>
            <a:fillRect t="-5000" b="-5000"/>
          </a:stretch>
        </a:blipFill>
      </dgm:spPr>
    </dgm:pt>
  </dgm:ptLst>
  <dgm:cxnLst>
    <dgm:cxn modelId="{5BEB2D07-F380-44FB-9F1F-1D718F9984A4}" srcId="{C43DF597-49EC-4869-AD32-C7E48F0F6AE1}" destId="{C34BAB0A-2ACF-4F47-AFA3-22F2041CDA8E}" srcOrd="3" destOrd="0" parTransId="{EB688E5A-82AD-425C-B35D-A685E4802583}" sibTransId="{DA5D718C-0C1F-48C2-9D4A-CADDFF7E74C2}"/>
    <dgm:cxn modelId="{B73B051B-10FE-4DFA-A622-12EB85313C9F}" type="presOf" srcId="{C34BAB0A-2ACF-4F47-AFA3-22F2041CDA8E}" destId="{BA39679A-3C29-49B1-B7C9-520C73677AE6}" srcOrd="0" destOrd="0" presId="urn:microsoft.com/office/officeart/2005/8/layout/pList2"/>
    <dgm:cxn modelId="{FFFE4B2E-4843-4702-9DD6-31A1F4CE2B90}" type="presOf" srcId="{E04AC9D5-1BCA-4B01-A254-9C40C7D36917}" destId="{E7AB7E48-DD0A-4FD3-A476-4FCF10FEC2BC}" srcOrd="0" destOrd="0" presId="urn:microsoft.com/office/officeart/2005/8/layout/pList2"/>
    <dgm:cxn modelId="{17BA6A35-22B5-4711-A542-FBCA2040489D}" srcId="{C43DF597-49EC-4869-AD32-C7E48F0F6AE1}" destId="{E04AC9D5-1BCA-4B01-A254-9C40C7D36917}" srcOrd="0" destOrd="0" parTransId="{F8E708F3-5C8F-4C1D-8294-7B5E0761B135}" sibTransId="{BDD72A52-98DC-4140-9B6E-A11062E67264}"/>
    <dgm:cxn modelId="{13360F86-E456-420B-B48F-9343608CF0D8}" srcId="{C43DF597-49EC-4869-AD32-C7E48F0F6AE1}" destId="{4AAE363B-73CF-4D5E-86DE-A09AAB30E8AA}" srcOrd="1" destOrd="0" parTransId="{56A485F4-33C8-4F4E-B064-D7BD7C1424E3}" sibTransId="{E578D163-E2FD-4F78-82EF-5B0B881FED39}"/>
    <dgm:cxn modelId="{B1DD0D9E-5375-49FE-8F9D-F0DEF8D7A336}" type="presOf" srcId="{4AAE363B-73CF-4D5E-86DE-A09AAB30E8AA}" destId="{8DB092A1-34D8-418F-A988-337D87FCBEE3}" srcOrd="0" destOrd="0" presId="urn:microsoft.com/office/officeart/2005/8/layout/pList2"/>
    <dgm:cxn modelId="{3C7256BF-C94A-45A9-B3F3-068CE1DAE40C}" type="presOf" srcId="{B23D3B25-6FCD-47B7-8A3D-F95FD91DBE26}" destId="{3A516A89-36C8-4A5B-8C36-E3D34E874C7E}" srcOrd="0" destOrd="0" presId="urn:microsoft.com/office/officeart/2005/8/layout/pList2"/>
    <dgm:cxn modelId="{9F2DDDC5-37DD-4F78-9E4C-AAE67970E6A7}" type="presOf" srcId="{BDD72A52-98DC-4140-9B6E-A11062E67264}" destId="{93525236-4707-46E6-87BB-3E0B09D9C533}" srcOrd="0" destOrd="0" presId="urn:microsoft.com/office/officeart/2005/8/layout/pList2"/>
    <dgm:cxn modelId="{890106CF-EC2D-41BA-A226-DC4978675D24}" type="presOf" srcId="{9AF7ACFF-FF1B-4282-A1EE-80078AD93E7B}" destId="{C8C4E0F0-B23A-428A-98D2-0C2144E7B0BF}" srcOrd="0" destOrd="0" presId="urn:microsoft.com/office/officeart/2005/8/layout/pList2"/>
    <dgm:cxn modelId="{54122BD7-F674-4057-94AB-BE04A5228E11}" type="presOf" srcId="{C43DF597-49EC-4869-AD32-C7E48F0F6AE1}" destId="{BAC58115-AFF4-4B65-9333-593F1454F5E5}" srcOrd="0" destOrd="0" presId="urn:microsoft.com/office/officeart/2005/8/layout/pList2"/>
    <dgm:cxn modelId="{4BE9CBD7-FBDE-4438-8733-A4345B401005}" srcId="{C43DF597-49EC-4869-AD32-C7E48F0F6AE1}" destId="{9AF7ACFF-FF1B-4282-A1EE-80078AD93E7B}" srcOrd="2" destOrd="0" parTransId="{1C265E83-BB18-4E29-99FF-0760DCD8157F}" sibTransId="{B23D3B25-6FCD-47B7-8A3D-F95FD91DBE26}"/>
    <dgm:cxn modelId="{055DA4DD-3D69-43A9-A3E6-DF5F5E98243A}" type="presOf" srcId="{E578D163-E2FD-4F78-82EF-5B0B881FED39}" destId="{AD376FFB-2C29-4CEC-A4FF-6B963F5C45F8}" srcOrd="0" destOrd="0" presId="urn:microsoft.com/office/officeart/2005/8/layout/pList2"/>
    <dgm:cxn modelId="{0BE676EA-25F9-4673-976B-EB4497636C7C}" type="presParOf" srcId="{BAC58115-AFF4-4B65-9333-593F1454F5E5}" destId="{D75AC1A1-7313-4EAE-ADE7-AD129A089720}" srcOrd="0" destOrd="0" presId="urn:microsoft.com/office/officeart/2005/8/layout/pList2"/>
    <dgm:cxn modelId="{84A2690C-FBD9-4878-8259-A71E9C6B0406}" type="presParOf" srcId="{BAC58115-AFF4-4B65-9333-593F1454F5E5}" destId="{B129B29E-BDBB-452B-8FCE-1E7035B56067}" srcOrd="1" destOrd="0" presId="urn:microsoft.com/office/officeart/2005/8/layout/pList2"/>
    <dgm:cxn modelId="{4917CF6C-9135-4BAB-B0CF-DF88B9E73DE2}" type="presParOf" srcId="{B129B29E-BDBB-452B-8FCE-1E7035B56067}" destId="{88251C4E-A9A9-4B9A-80E3-E9072F915F95}" srcOrd="0" destOrd="0" presId="urn:microsoft.com/office/officeart/2005/8/layout/pList2"/>
    <dgm:cxn modelId="{92141EC8-4735-4D64-AEBD-9B84436CC480}" type="presParOf" srcId="{88251C4E-A9A9-4B9A-80E3-E9072F915F95}" destId="{E7AB7E48-DD0A-4FD3-A476-4FCF10FEC2BC}" srcOrd="0" destOrd="0" presId="urn:microsoft.com/office/officeart/2005/8/layout/pList2"/>
    <dgm:cxn modelId="{EA0AEC6C-C9D8-4DA3-BF25-9404FA26AF33}" type="presParOf" srcId="{88251C4E-A9A9-4B9A-80E3-E9072F915F95}" destId="{2DC8682C-ACAD-48A4-AFFC-72A5E4003018}" srcOrd="1" destOrd="0" presId="urn:microsoft.com/office/officeart/2005/8/layout/pList2"/>
    <dgm:cxn modelId="{F8E764CB-54C0-4557-B91E-18331E19F4CE}" type="presParOf" srcId="{88251C4E-A9A9-4B9A-80E3-E9072F915F95}" destId="{327F1A22-8360-4D07-916A-3416153E1468}" srcOrd="2" destOrd="0" presId="urn:microsoft.com/office/officeart/2005/8/layout/pList2"/>
    <dgm:cxn modelId="{2ACD4B4F-7003-40B0-BB28-31CDE2F9606E}" type="presParOf" srcId="{B129B29E-BDBB-452B-8FCE-1E7035B56067}" destId="{93525236-4707-46E6-87BB-3E0B09D9C533}" srcOrd="1" destOrd="0" presId="urn:microsoft.com/office/officeart/2005/8/layout/pList2"/>
    <dgm:cxn modelId="{4086B17E-0E53-45DF-AE32-CB48BE9A235F}" type="presParOf" srcId="{B129B29E-BDBB-452B-8FCE-1E7035B56067}" destId="{713A7185-8165-4416-84F0-CAA2E5AE6CDF}" srcOrd="2" destOrd="0" presId="urn:microsoft.com/office/officeart/2005/8/layout/pList2"/>
    <dgm:cxn modelId="{83BD341F-61FA-4549-9048-6BA442733A74}" type="presParOf" srcId="{713A7185-8165-4416-84F0-CAA2E5AE6CDF}" destId="{8DB092A1-34D8-418F-A988-337D87FCBEE3}" srcOrd="0" destOrd="0" presId="urn:microsoft.com/office/officeart/2005/8/layout/pList2"/>
    <dgm:cxn modelId="{72F233A8-332E-4AB2-AE27-0B3219273563}" type="presParOf" srcId="{713A7185-8165-4416-84F0-CAA2E5AE6CDF}" destId="{5D9AE9B0-3C96-4913-B038-FC912581338D}" srcOrd="1" destOrd="0" presId="urn:microsoft.com/office/officeart/2005/8/layout/pList2"/>
    <dgm:cxn modelId="{E03B35B1-934D-4949-8DB1-4B00E7268443}" type="presParOf" srcId="{713A7185-8165-4416-84F0-CAA2E5AE6CDF}" destId="{9B6F06B5-8858-4F74-91C6-EAA83F0E33E3}" srcOrd="2" destOrd="0" presId="urn:microsoft.com/office/officeart/2005/8/layout/pList2"/>
    <dgm:cxn modelId="{59B58AC4-9C7D-4B0A-B6A4-0F0B4BF4BF6E}" type="presParOf" srcId="{B129B29E-BDBB-452B-8FCE-1E7035B56067}" destId="{AD376FFB-2C29-4CEC-A4FF-6B963F5C45F8}" srcOrd="3" destOrd="0" presId="urn:microsoft.com/office/officeart/2005/8/layout/pList2"/>
    <dgm:cxn modelId="{713595B4-5F9E-4FA3-A068-8A3CD62418C6}" type="presParOf" srcId="{B129B29E-BDBB-452B-8FCE-1E7035B56067}" destId="{4C702D76-678A-49A8-8598-CCB0FAB42658}" srcOrd="4" destOrd="0" presId="urn:microsoft.com/office/officeart/2005/8/layout/pList2"/>
    <dgm:cxn modelId="{08127951-B7FF-4DE2-A45E-097956BED4F5}" type="presParOf" srcId="{4C702D76-678A-49A8-8598-CCB0FAB42658}" destId="{C8C4E0F0-B23A-428A-98D2-0C2144E7B0BF}" srcOrd="0" destOrd="0" presId="urn:microsoft.com/office/officeart/2005/8/layout/pList2"/>
    <dgm:cxn modelId="{CF1E31C7-FD83-4CF4-BF85-0F997A1968D8}" type="presParOf" srcId="{4C702D76-678A-49A8-8598-CCB0FAB42658}" destId="{457135C1-6E16-490D-8A5C-680194E32CEB}" srcOrd="1" destOrd="0" presId="urn:microsoft.com/office/officeart/2005/8/layout/pList2"/>
    <dgm:cxn modelId="{DAB821EA-8C93-4736-9135-8FA96A598C2B}" type="presParOf" srcId="{4C702D76-678A-49A8-8598-CCB0FAB42658}" destId="{BD3D8042-5BBF-4B80-8876-E8F08C58CB3A}" srcOrd="2" destOrd="0" presId="urn:microsoft.com/office/officeart/2005/8/layout/pList2"/>
    <dgm:cxn modelId="{6C5E670F-9EFC-4402-B3B2-E56277772CC3}" type="presParOf" srcId="{B129B29E-BDBB-452B-8FCE-1E7035B56067}" destId="{3A516A89-36C8-4A5B-8C36-E3D34E874C7E}" srcOrd="5" destOrd="0" presId="urn:microsoft.com/office/officeart/2005/8/layout/pList2"/>
    <dgm:cxn modelId="{A46FAF33-A76E-4C91-AFE9-6A0CA34CEEAC}" type="presParOf" srcId="{B129B29E-BDBB-452B-8FCE-1E7035B56067}" destId="{61444DE2-6E3E-480C-B817-40A4FFD9068D}" srcOrd="6" destOrd="0" presId="urn:microsoft.com/office/officeart/2005/8/layout/pList2"/>
    <dgm:cxn modelId="{62956DB3-CE84-4C45-8DE5-0038DCACD41F}" type="presParOf" srcId="{61444DE2-6E3E-480C-B817-40A4FFD9068D}" destId="{BA39679A-3C29-49B1-B7C9-520C73677AE6}" srcOrd="0" destOrd="0" presId="urn:microsoft.com/office/officeart/2005/8/layout/pList2"/>
    <dgm:cxn modelId="{73B149DE-71CB-4E61-8D39-292E898A9DA2}" type="presParOf" srcId="{61444DE2-6E3E-480C-B817-40A4FFD9068D}" destId="{F39A0F01-9F74-4896-B933-D3C29FEAA5F0}" srcOrd="1" destOrd="0" presId="urn:microsoft.com/office/officeart/2005/8/layout/pList2"/>
    <dgm:cxn modelId="{2D7E1422-BD8C-43A7-810D-86566DC3B634}" type="presParOf" srcId="{61444DE2-6E3E-480C-B817-40A4FFD9068D}" destId="{835BF62C-3342-4E69-9F44-AA3A395A8512}" srcOrd="2" destOrd="0" presId="urn:microsoft.com/office/officeart/2005/8/layout/pList2"/>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5ED914E-A6E4-4E1F-8DF0-DC1E051DE38A}" type="doc">
      <dgm:prSet loTypeId="urn:microsoft.com/office/officeart/2005/8/layout/matrix1" loCatId="matrix" qsTypeId="urn:microsoft.com/office/officeart/2005/8/quickstyle/3d1" qsCatId="3D" csTypeId="urn:microsoft.com/office/officeart/2005/8/colors/colorful2" csCatId="colorful" phldr="1"/>
      <dgm:spPr/>
      <dgm:t>
        <a:bodyPr/>
        <a:lstStyle/>
        <a:p>
          <a:endParaRPr lang="sk-SK"/>
        </a:p>
      </dgm:t>
    </dgm:pt>
    <dgm:pt modelId="{F18CA39C-BAA4-465C-855B-F0229DFD947B}">
      <dgm:prSet phldrT="[Text]" custT="1"/>
      <dgm:spPr/>
      <dgm:t>
        <a:bodyPr/>
        <a:lstStyle/>
        <a:p>
          <a:r>
            <a:rPr lang="sk-SK" sz="2000" b="1" i="0" dirty="0"/>
            <a:t>Predplatená elektrina</a:t>
          </a:r>
        </a:p>
      </dgm:t>
    </dgm:pt>
    <dgm:pt modelId="{41AFD225-CC25-4099-BDF8-CC5D304A47CF}" type="parTrans" cxnId="{75F11D4B-0600-4AF7-B6C2-9D36E451A17C}">
      <dgm:prSet/>
      <dgm:spPr/>
      <dgm:t>
        <a:bodyPr/>
        <a:lstStyle/>
        <a:p>
          <a:endParaRPr lang="sk-SK"/>
        </a:p>
      </dgm:t>
    </dgm:pt>
    <dgm:pt modelId="{85A933A9-4BD7-4087-90ED-3F16F02B306F}" type="sibTrans" cxnId="{75F11D4B-0600-4AF7-B6C2-9D36E451A17C}">
      <dgm:prSet/>
      <dgm:spPr/>
      <dgm:t>
        <a:bodyPr/>
        <a:lstStyle/>
        <a:p>
          <a:endParaRPr lang="sk-SK"/>
        </a:p>
      </dgm:t>
    </dgm:pt>
    <dgm:pt modelId="{1A9E2E08-827B-4F7E-9355-EA9B10334904}">
      <dgm:prSet phldrT="[Text]" custT="1"/>
      <dgm:spPr/>
      <dgm:t>
        <a:bodyPr anchor="t"/>
        <a:lstStyle/>
        <a:p>
          <a:pPr algn="ctr"/>
          <a:r>
            <a:rPr lang="sk-SK" sz="2000" b="1" dirty="0"/>
            <a:t>Technické podmienky</a:t>
          </a:r>
        </a:p>
        <a:p>
          <a:pPr algn="l"/>
          <a:r>
            <a:rPr lang="sk-SK" altLang="sk-SK" sz="1400" b="0" i="0" dirty="0"/>
            <a:t>Technické riešenie je individuálne a záleží od miestnej situácie. </a:t>
          </a:r>
          <a:r>
            <a:rPr lang="sk-SK" altLang="sk-SK" sz="1400" b="0" dirty="0"/>
            <a:t>Distribučné transformačné stanice a elektromerový rozvádzač na mieste </a:t>
          </a:r>
          <a:br>
            <a:rPr lang="sk-SK" altLang="sk-SK" sz="1400" b="0" dirty="0"/>
          </a:br>
          <a:r>
            <a:rPr lang="sk-SK" altLang="sk-SK" sz="1400" b="0" dirty="0"/>
            <a:t>s dostatočnou </a:t>
          </a:r>
          <a:r>
            <a:rPr lang="sk-SK" altLang="sk-SK" sz="1400" dirty="0"/>
            <a:t>verejnou kontrolou. Nemerané časti elektroinštalácie nesmú prechádzať jadrom bytoviek. </a:t>
          </a:r>
          <a:r>
            <a:rPr lang="sk-SK" altLang="sk-SK" sz="1400" b="0" i="0" dirty="0"/>
            <a:t>Prevedenie „</a:t>
          </a:r>
          <a:r>
            <a:rPr lang="sk-SK" altLang="sk-SK" sz="1400" b="0" i="0" dirty="0" err="1"/>
            <a:t>antivandal</a:t>
          </a:r>
          <a:r>
            <a:rPr lang="sk-SK" altLang="sk-SK" sz="1400" b="0" i="0" dirty="0"/>
            <a:t>“ , betónové skelety rozvádzačov, </a:t>
          </a:r>
          <a:r>
            <a:rPr lang="sk-SK" altLang="sk-SK" sz="1400" b="0" dirty="0"/>
            <a:t>zabezpečenie proti neoprávnenému zásahu </a:t>
          </a:r>
          <a:br>
            <a:rPr lang="sk-SK" altLang="sk-SK" sz="1400" b="0" dirty="0"/>
          </a:br>
          <a:r>
            <a:rPr lang="sk-SK" altLang="sk-SK" sz="1400" b="0" dirty="0"/>
            <a:t>(kamera, zabezpečovací systém...). </a:t>
          </a:r>
          <a:r>
            <a:rPr lang="sk-SK" altLang="sk-SK" sz="1400" b="0" i="0" dirty="0"/>
            <a:t> </a:t>
          </a:r>
          <a:endParaRPr lang="sk-SK" sz="1400" b="0" i="0" dirty="0"/>
        </a:p>
        <a:p>
          <a:pPr algn="l"/>
          <a:endParaRPr lang="sk-SK" sz="1600" b="1" dirty="0"/>
        </a:p>
      </dgm:t>
    </dgm:pt>
    <dgm:pt modelId="{65828711-E1E7-4286-A7B4-E966E8FD7010}" type="parTrans" cxnId="{8A8C4C9B-BEAF-4D45-9254-4B2075ECCCF0}">
      <dgm:prSet/>
      <dgm:spPr/>
      <dgm:t>
        <a:bodyPr/>
        <a:lstStyle/>
        <a:p>
          <a:endParaRPr lang="sk-SK"/>
        </a:p>
      </dgm:t>
    </dgm:pt>
    <dgm:pt modelId="{A2047BA0-9CF2-4F45-BF4B-F2E2F4B52F24}" type="sibTrans" cxnId="{8A8C4C9B-BEAF-4D45-9254-4B2075ECCCF0}">
      <dgm:prSet/>
      <dgm:spPr/>
      <dgm:t>
        <a:bodyPr/>
        <a:lstStyle/>
        <a:p>
          <a:endParaRPr lang="sk-SK"/>
        </a:p>
      </dgm:t>
    </dgm:pt>
    <dgm:pt modelId="{71A98719-9B93-40D3-82C3-AFCE94BD5942}">
      <dgm:prSet phldrT="[Text]" custT="1"/>
      <dgm:spPr/>
      <dgm:t>
        <a:bodyPr anchor="t"/>
        <a:lstStyle/>
        <a:p>
          <a:pPr algn="ctr"/>
          <a:r>
            <a:rPr lang="sk-SK" sz="2000" b="1" dirty="0"/>
            <a:t>Smart  riešenie</a:t>
          </a:r>
        </a:p>
        <a:p>
          <a:pPr algn="l"/>
          <a:r>
            <a:rPr lang="sk-SK" sz="1400" b="0" dirty="0"/>
            <a:t>Systém merania  a distribúcie elektriny využitím nových technológii ako sú IMS  elektromery s odpojovačom, GSM/GPRS komunikáciou a PLC komunikáciou (p</a:t>
          </a:r>
          <a:r>
            <a:rPr lang="pl-PL" sz="1400" b="0" dirty="0"/>
            <a:t>renos údajov </a:t>
          </a:r>
          <a:r>
            <a:rPr lang="sk-SK" sz="1400" b="0" dirty="0"/>
            <a:t>prostredníctvom silových kábloch elektrických sietí), k</a:t>
          </a:r>
          <a:r>
            <a:rPr lang="sk-SK" altLang="sk-SK" sz="1400" b="0" dirty="0"/>
            <a:t>oncentrátor.</a:t>
          </a:r>
          <a:endParaRPr lang="sk-SK" sz="1400" b="0" dirty="0"/>
        </a:p>
      </dgm:t>
    </dgm:pt>
    <dgm:pt modelId="{2891F268-8783-4231-B50B-4B10EFD1DA5F}" type="parTrans" cxnId="{4E787E83-5DE0-4376-B9B2-B4AAF1D0672F}">
      <dgm:prSet/>
      <dgm:spPr/>
      <dgm:t>
        <a:bodyPr/>
        <a:lstStyle/>
        <a:p>
          <a:endParaRPr lang="sk-SK"/>
        </a:p>
      </dgm:t>
    </dgm:pt>
    <dgm:pt modelId="{69BA8258-E081-4152-9BF8-16546C4D2598}" type="sibTrans" cxnId="{4E787E83-5DE0-4376-B9B2-B4AAF1D0672F}">
      <dgm:prSet/>
      <dgm:spPr/>
      <dgm:t>
        <a:bodyPr/>
        <a:lstStyle/>
        <a:p>
          <a:endParaRPr lang="sk-SK"/>
        </a:p>
      </dgm:t>
    </dgm:pt>
    <dgm:pt modelId="{23964FBF-3CC6-462C-95FD-5D545EBE25F2}">
      <dgm:prSet phldrT="[Text]" custT="1"/>
      <dgm:spPr/>
      <dgm:t>
        <a:bodyPr tIns="0" anchor="t"/>
        <a:lstStyle/>
        <a:p>
          <a:pPr algn="ctr"/>
          <a:r>
            <a:rPr lang="sk-SK" sz="2000" b="1" dirty="0"/>
            <a:t>Distribučné  podmienky</a:t>
          </a:r>
        </a:p>
        <a:p>
          <a:pPr algn="l"/>
          <a:r>
            <a:rPr lang="sk-SK" altLang="sk-SK" sz="1400" b="0" dirty="0"/>
            <a:t>Sadzba pre domácnosti, určená </a:t>
          </a:r>
          <a:r>
            <a:rPr lang="sk-SK" sz="1400" b="0" i="0" u="none" strike="noStrike" baseline="0" dirty="0">
              <a:latin typeface="+mn-lt"/>
              <a:ea typeface="+mn-ea"/>
              <a:cs typeface="+mn-cs"/>
            </a:rPr>
            <a:t>výlučne pre zabezpečenie dodávky elektriny pre byty a nebytové priestory domácností, </a:t>
          </a:r>
          <a:r>
            <a:rPr lang="sk-SK" altLang="sk-SK" sz="1400" b="0" dirty="0"/>
            <a:t> jedno odberné miesto, mesačná fakturácia, bez poplatkov za maximálnu rezervovanú kapacitu.</a:t>
          </a:r>
          <a:endParaRPr lang="sk-SK" sz="1400" b="0" dirty="0"/>
        </a:p>
      </dgm:t>
    </dgm:pt>
    <dgm:pt modelId="{989002C8-A88D-4488-A95E-7F622192132E}" type="parTrans" cxnId="{25980667-FCE9-47B3-B144-649329CA5AED}">
      <dgm:prSet/>
      <dgm:spPr/>
      <dgm:t>
        <a:bodyPr/>
        <a:lstStyle/>
        <a:p>
          <a:endParaRPr lang="sk-SK"/>
        </a:p>
      </dgm:t>
    </dgm:pt>
    <dgm:pt modelId="{B213C2AF-5FDC-4067-8852-E5970B0FC704}" type="sibTrans" cxnId="{25980667-FCE9-47B3-B144-649329CA5AED}">
      <dgm:prSet/>
      <dgm:spPr/>
      <dgm:t>
        <a:bodyPr/>
        <a:lstStyle/>
        <a:p>
          <a:endParaRPr lang="sk-SK"/>
        </a:p>
      </dgm:t>
    </dgm:pt>
    <dgm:pt modelId="{FE1E4E07-5DF8-47AE-A9F6-F6BDAC97C021}">
      <dgm:prSet phldrT="[Text]" custT="1"/>
      <dgm:spPr/>
      <dgm:t>
        <a:bodyPr lIns="115200" tIns="0" rIns="115200" bIns="115200" anchor="t"/>
        <a:lstStyle/>
        <a:p>
          <a:pPr algn="ctr"/>
          <a:r>
            <a:rPr lang="sk-SK" sz="2000" b="1" dirty="0"/>
            <a:t>IT aplikácia </a:t>
          </a:r>
        </a:p>
        <a:p>
          <a:pPr algn="l"/>
          <a:r>
            <a:rPr lang="sk-SK" sz="1400" dirty="0"/>
            <a:t>Umožňuje správu systému merania, evidovanie platieb, zapínanie a vypínanie dodávky elektriny v byte na diaľku.  Umožňuje sledovanie spotreby nájomníkom na e-mailoch alebo smartfónoch.</a:t>
          </a:r>
        </a:p>
      </dgm:t>
    </dgm:pt>
    <dgm:pt modelId="{46BBA4BA-5B7A-4017-8CB3-C354B56CB7E0}" type="parTrans" cxnId="{E6464495-944B-4C66-BB5F-9E4BCEA861B3}">
      <dgm:prSet/>
      <dgm:spPr/>
      <dgm:t>
        <a:bodyPr/>
        <a:lstStyle/>
        <a:p>
          <a:endParaRPr lang="sk-SK"/>
        </a:p>
      </dgm:t>
    </dgm:pt>
    <dgm:pt modelId="{68AB9E2C-0786-4293-BCC5-C3072EE66B77}" type="sibTrans" cxnId="{E6464495-944B-4C66-BB5F-9E4BCEA861B3}">
      <dgm:prSet/>
      <dgm:spPr/>
      <dgm:t>
        <a:bodyPr/>
        <a:lstStyle/>
        <a:p>
          <a:endParaRPr lang="sk-SK"/>
        </a:p>
      </dgm:t>
    </dgm:pt>
    <dgm:pt modelId="{19AFE55C-C0EC-4C07-84E5-373B8E433C93}" type="pres">
      <dgm:prSet presAssocID="{05ED914E-A6E4-4E1F-8DF0-DC1E051DE38A}" presName="diagram" presStyleCnt="0">
        <dgm:presLayoutVars>
          <dgm:chMax val="1"/>
          <dgm:dir/>
          <dgm:animLvl val="ctr"/>
          <dgm:resizeHandles val="exact"/>
        </dgm:presLayoutVars>
      </dgm:prSet>
      <dgm:spPr/>
    </dgm:pt>
    <dgm:pt modelId="{CD4A1809-0036-4338-888F-3EB6EFAA6E4B}" type="pres">
      <dgm:prSet presAssocID="{05ED914E-A6E4-4E1F-8DF0-DC1E051DE38A}" presName="matrix" presStyleCnt="0"/>
      <dgm:spPr/>
    </dgm:pt>
    <dgm:pt modelId="{D5AE963A-5974-41F6-AB71-50A6254B5332}" type="pres">
      <dgm:prSet presAssocID="{05ED914E-A6E4-4E1F-8DF0-DC1E051DE38A}" presName="tile1" presStyleLbl="node1" presStyleIdx="0" presStyleCnt="4"/>
      <dgm:spPr/>
    </dgm:pt>
    <dgm:pt modelId="{65FD067C-461F-45CD-BBB7-B013ECAB4D66}" type="pres">
      <dgm:prSet presAssocID="{05ED914E-A6E4-4E1F-8DF0-DC1E051DE38A}" presName="tile1text" presStyleLbl="node1" presStyleIdx="0" presStyleCnt="4">
        <dgm:presLayoutVars>
          <dgm:chMax val="0"/>
          <dgm:chPref val="0"/>
          <dgm:bulletEnabled val="1"/>
        </dgm:presLayoutVars>
      </dgm:prSet>
      <dgm:spPr/>
    </dgm:pt>
    <dgm:pt modelId="{C82EEF4A-B87A-481D-A251-DCDDCB8CD4B5}" type="pres">
      <dgm:prSet presAssocID="{05ED914E-A6E4-4E1F-8DF0-DC1E051DE38A}" presName="tile2" presStyleLbl="node1" presStyleIdx="1" presStyleCnt="4" custLinFactNeighborX="0" custLinFactNeighborY="-8567"/>
      <dgm:spPr/>
    </dgm:pt>
    <dgm:pt modelId="{C6017EE0-5ACB-45DD-B97A-B2C605DB7EF2}" type="pres">
      <dgm:prSet presAssocID="{05ED914E-A6E4-4E1F-8DF0-DC1E051DE38A}" presName="tile2text" presStyleLbl="node1" presStyleIdx="1" presStyleCnt="4">
        <dgm:presLayoutVars>
          <dgm:chMax val="0"/>
          <dgm:chPref val="0"/>
          <dgm:bulletEnabled val="1"/>
        </dgm:presLayoutVars>
      </dgm:prSet>
      <dgm:spPr/>
    </dgm:pt>
    <dgm:pt modelId="{60A93535-18FA-4D26-B5CA-AF7B22BB84D4}" type="pres">
      <dgm:prSet presAssocID="{05ED914E-A6E4-4E1F-8DF0-DC1E051DE38A}" presName="tile3" presStyleLbl="node1" presStyleIdx="2" presStyleCnt="4"/>
      <dgm:spPr/>
    </dgm:pt>
    <dgm:pt modelId="{F50951A2-6AD0-4C8F-A101-7FF22042CB8F}" type="pres">
      <dgm:prSet presAssocID="{05ED914E-A6E4-4E1F-8DF0-DC1E051DE38A}" presName="tile3text" presStyleLbl="node1" presStyleIdx="2" presStyleCnt="4">
        <dgm:presLayoutVars>
          <dgm:chMax val="0"/>
          <dgm:chPref val="0"/>
          <dgm:bulletEnabled val="1"/>
        </dgm:presLayoutVars>
      </dgm:prSet>
      <dgm:spPr/>
    </dgm:pt>
    <dgm:pt modelId="{19994D9F-E372-4297-A014-2F64C041210C}" type="pres">
      <dgm:prSet presAssocID="{05ED914E-A6E4-4E1F-8DF0-DC1E051DE38A}" presName="tile4" presStyleLbl="node1" presStyleIdx="3" presStyleCnt="4" custLinFactNeighborX="823" custLinFactNeighborY="2835"/>
      <dgm:spPr/>
    </dgm:pt>
    <dgm:pt modelId="{0D21CAAF-55A1-4CBF-BD2A-9CB216F11B69}" type="pres">
      <dgm:prSet presAssocID="{05ED914E-A6E4-4E1F-8DF0-DC1E051DE38A}" presName="tile4text" presStyleLbl="node1" presStyleIdx="3" presStyleCnt="4">
        <dgm:presLayoutVars>
          <dgm:chMax val="0"/>
          <dgm:chPref val="0"/>
          <dgm:bulletEnabled val="1"/>
        </dgm:presLayoutVars>
      </dgm:prSet>
      <dgm:spPr/>
    </dgm:pt>
    <dgm:pt modelId="{7A7B9C76-1E76-4689-88F0-B721FEA8CCE5}" type="pres">
      <dgm:prSet presAssocID="{05ED914E-A6E4-4E1F-8DF0-DC1E051DE38A}" presName="centerTile" presStyleLbl="fgShp" presStyleIdx="0" presStyleCnt="1" custScaleX="77669" custScaleY="79318">
        <dgm:presLayoutVars>
          <dgm:chMax val="0"/>
          <dgm:chPref val="0"/>
        </dgm:presLayoutVars>
      </dgm:prSet>
      <dgm:spPr/>
    </dgm:pt>
  </dgm:ptLst>
  <dgm:cxnLst>
    <dgm:cxn modelId="{75711A26-FDFF-4BF8-864A-C702C3C68859}" type="presOf" srcId="{23964FBF-3CC6-462C-95FD-5D545EBE25F2}" destId="{F50951A2-6AD0-4C8F-A101-7FF22042CB8F}" srcOrd="1" destOrd="0" presId="urn:microsoft.com/office/officeart/2005/8/layout/matrix1"/>
    <dgm:cxn modelId="{D78F7F37-6BDD-470A-BA51-2095C6426171}" type="presOf" srcId="{71A98719-9B93-40D3-82C3-AFCE94BD5942}" destId="{C82EEF4A-B87A-481D-A251-DCDDCB8CD4B5}" srcOrd="0" destOrd="0" presId="urn:microsoft.com/office/officeart/2005/8/layout/matrix1"/>
    <dgm:cxn modelId="{D7C27D41-A1CB-4E6C-899F-AAC95749393F}" type="presOf" srcId="{FE1E4E07-5DF8-47AE-A9F6-F6BDAC97C021}" destId="{0D21CAAF-55A1-4CBF-BD2A-9CB216F11B69}" srcOrd="1" destOrd="0" presId="urn:microsoft.com/office/officeart/2005/8/layout/matrix1"/>
    <dgm:cxn modelId="{25980667-FCE9-47B3-B144-649329CA5AED}" srcId="{F18CA39C-BAA4-465C-855B-F0229DFD947B}" destId="{23964FBF-3CC6-462C-95FD-5D545EBE25F2}" srcOrd="2" destOrd="0" parTransId="{989002C8-A88D-4488-A95E-7F622192132E}" sibTransId="{B213C2AF-5FDC-4067-8852-E5970B0FC704}"/>
    <dgm:cxn modelId="{75F11D4B-0600-4AF7-B6C2-9D36E451A17C}" srcId="{05ED914E-A6E4-4E1F-8DF0-DC1E051DE38A}" destId="{F18CA39C-BAA4-465C-855B-F0229DFD947B}" srcOrd="0" destOrd="0" parTransId="{41AFD225-CC25-4099-BDF8-CC5D304A47CF}" sibTransId="{85A933A9-4BD7-4087-90ED-3F16F02B306F}"/>
    <dgm:cxn modelId="{51EC0F7B-7AA3-47F6-86B2-82D803FA66CB}" type="presOf" srcId="{23964FBF-3CC6-462C-95FD-5D545EBE25F2}" destId="{60A93535-18FA-4D26-B5CA-AF7B22BB84D4}" srcOrd="0" destOrd="0" presId="urn:microsoft.com/office/officeart/2005/8/layout/matrix1"/>
    <dgm:cxn modelId="{7FF44D82-EA78-4CEC-B444-0775C8B61D1B}" type="presOf" srcId="{1A9E2E08-827B-4F7E-9355-EA9B10334904}" destId="{65FD067C-461F-45CD-BBB7-B013ECAB4D66}" srcOrd="1" destOrd="0" presId="urn:microsoft.com/office/officeart/2005/8/layout/matrix1"/>
    <dgm:cxn modelId="{5BE76D83-34C1-4C8A-B81B-826F34F5DBB8}" type="presOf" srcId="{71A98719-9B93-40D3-82C3-AFCE94BD5942}" destId="{C6017EE0-5ACB-45DD-B97A-B2C605DB7EF2}" srcOrd="1" destOrd="0" presId="urn:microsoft.com/office/officeart/2005/8/layout/matrix1"/>
    <dgm:cxn modelId="{4E787E83-5DE0-4376-B9B2-B4AAF1D0672F}" srcId="{F18CA39C-BAA4-465C-855B-F0229DFD947B}" destId="{71A98719-9B93-40D3-82C3-AFCE94BD5942}" srcOrd="1" destOrd="0" parTransId="{2891F268-8783-4231-B50B-4B10EFD1DA5F}" sibTransId="{69BA8258-E081-4152-9BF8-16546C4D2598}"/>
    <dgm:cxn modelId="{E6464495-944B-4C66-BB5F-9E4BCEA861B3}" srcId="{F18CA39C-BAA4-465C-855B-F0229DFD947B}" destId="{FE1E4E07-5DF8-47AE-A9F6-F6BDAC97C021}" srcOrd="3" destOrd="0" parTransId="{46BBA4BA-5B7A-4017-8CB3-C354B56CB7E0}" sibTransId="{68AB9E2C-0786-4293-BCC5-C3072EE66B77}"/>
    <dgm:cxn modelId="{8A8C4C9B-BEAF-4D45-9254-4B2075ECCCF0}" srcId="{F18CA39C-BAA4-465C-855B-F0229DFD947B}" destId="{1A9E2E08-827B-4F7E-9355-EA9B10334904}" srcOrd="0" destOrd="0" parTransId="{65828711-E1E7-4286-A7B4-E966E8FD7010}" sibTransId="{A2047BA0-9CF2-4F45-BF4B-F2E2F4B52F24}"/>
    <dgm:cxn modelId="{E9677DAD-11B0-4AD4-9509-86303D6801D4}" type="presOf" srcId="{05ED914E-A6E4-4E1F-8DF0-DC1E051DE38A}" destId="{19AFE55C-C0EC-4C07-84E5-373B8E433C93}" srcOrd="0" destOrd="0" presId="urn:microsoft.com/office/officeart/2005/8/layout/matrix1"/>
    <dgm:cxn modelId="{8E5D22AF-72C3-45F4-AB9F-D91CC2CEE4F3}" type="presOf" srcId="{F18CA39C-BAA4-465C-855B-F0229DFD947B}" destId="{7A7B9C76-1E76-4689-88F0-B721FEA8CCE5}" srcOrd="0" destOrd="0" presId="urn:microsoft.com/office/officeart/2005/8/layout/matrix1"/>
    <dgm:cxn modelId="{F892CFB5-9D41-4D30-9515-5CCDF532E083}" type="presOf" srcId="{FE1E4E07-5DF8-47AE-A9F6-F6BDAC97C021}" destId="{19994D9F-E372-4297-A014-2F64C041210C}" srcOrd="0" destOrd="0" presId="urn:microsoft.com/office/officeart/2005/8/layout/matrix1"/>
    <dgm:cxn modelId="{B8ED81C3-0739-47CC-99E8-584F28EF282C}" type="presOf" srcId="{1A9E2E08-827B-4F7E-9355-EA9B10334904}" destId="{D5AE963A-5974-41F6-AB71-50A6254B5332}" srcOrd="0" destOrd="0" presId="urn:microsoft.com/office/officeart/2005/8/layout/matrix1"/>
    <dgm:cxn modelId="{8AF3CDC8-E6CC-4C4D-904A-4B8603A2137F}" type="presParOf" srcId="{19AFE55C-C0EC-4C07-84E5-373B8E433C93}" destId="{CD4A1809-0036-4338-888F-3EB6EFAA6E4B}" srcOrd="0" destOrd="0" presId="urn:microsoft.com/office/officeart/2005/8/layout/matrix1"/>
    <dgm:cxn modelId="{FCFB337E-D38C-4E07-A6E7-68E451BFFFE3}" type="presParOf" srcId="{CD4A1809-0036-4338-888F-3EB6EFAA6E4B}" destId="{D5AE963A-5974-41F6-AB71-50A6254B5332}" srcOrd="0" destOrd="0" presId="urn:microsoft.com/office/officeart/2005/8/layout/matrix1"/>
    <dgm:cxn modelId="{4F41F1F8-F1F5-41DD-9A42-FCDB10FBD299}" type="presParOf" srcId="{CD4A1809-0036-4338-888F-3EB6EFAA6E4B}" destId="{65FD067C-461F-45CD-BBB7-B013ECAB4D66}" srcOrd="1" destOrd="0" presId="urn:microsoft.com/office/officeart/2005/8/layout/matrix1"/>
    <dgm:cxn modelId="{69A4BC0C-BBA9-48FE-B150-568CB058F906}" type="presParOf" srcId="{CD4A1809-0036-4338-888F-3EB6EFAA6E4B}" destId="{C82EEF4A-B87A-481D-A251-DCDDCB8CD4B5}" srcOrd="2" destOrd="0" presId="urn:microsoft.com/office/officeart/2005/8/layout/matrix1"/>
    <dgm:cxn modelId="{C4EEFDE1-0B30-4FA3-8F62-25D830BB663C}" type="presParOf" srcId="{CD4A1809-0036-4338-888F-3EB6EFAA6E4B}" destId="{C6017EE0-5ACB-45DD-B97A-B2C605DB7EF2}" srcOrd="3" destOrd="0" presId="urn:microsoft.com/office/officeart/2005/8/layout/matrix1"/>
    <dgm:cxn modelId="{3D8EE328-FDFC-41FE-901A-A6F41F0A4AEE}" type="presParOf" srcId="{CD4A1809-0036-4338-888F-3EB6EFAA6E4B}" destId="{60A93535-18FA-4D26-B5CA-AF7B22BB84D4}" srcOrd="4" destOrd="0" presId="urn:microsoft.com/office/officeart/2005/8/layout/matrix1"/>
    <dgm:cxn modelId="{EE6BBD3D-6A62-43ED-B0DF-2415C831D3E5}" type="presParOf" srcId="{CD4A1809-0036-4338-888F-3EB6EFAA6E4B}" destId="{F50951A2-6AD0-4C8F-A101-7FF22042CB8F}" srcOrd="5" destOrd="0" presId="urn:microsoft.com/office/officeart/2005/8/layout/matrix1"/>
    <dgm:cxn modelId="{23EFB53E-609C-440B-8993-A3E78A6CB729}" type="presParOf" srcId="{CD4A1809-0036-4338-888F-3EB6EFAA6E4B}" destId="{19994D9F-E372-4297-A014-2F64C041210C}" srcOrd="6" destOrd="0" presId="urn:microsoft.com/office/officeart/2005/8/layout/matrix1"/>
    <dgm:cxn modelId="{8FEA0E40-9DCE-40E7-8765-4FC9D80DA37A}" type="presParOf" srcId="{CD4A1809-0036-4338-888F-3EB6EFAA6E4B}" destId="{0D21CAAF-55A1-4CBF-BD2A-9CB216F11B69}" srcOrd="7" destOrd="0" presId="urn:microsoft.com/office/officeart/2005/8/layout/matrix1"/>
    <dgm:cxn modelId="{250A2B48-97CF-4640-AF32-D222BF816E12}" type="presParOf" srcId="{19AFE55C-C0EC-4C07-84E5-373B8E433C93}" destId="{7A7B9C76-1E76-4689-88F0-B721FEA8CCE5}"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5AC1A1-7313-4EAE-ADE7-AD129A089720}">
      <dsp:nvSpPr>
        <dsp:cNvPr id="0" name=""/>
        <dsp:cNvSpPr/>
      </dsp:nvSpPr>
      <dsp:spPr>
        <a:xfrm>
          <a:off x="0" y="296795"/>
          <a:ext cx="8695259" cy="2332011"/>
        </a:xfrm>
        <a:prstGeom prst="roundRect">
          <a:avLst>
            <a:gd name="adj" fmla="val 10000"/>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27F1A22-8360-4D07-916A-3416153E1468}">
      <dsp:nvSpPr>
        <dsp:cNvPr id="0" name=""/>
        <dsp:cNvSpPr/>
      </dsp:nvSpPr>
      <dsp:spPr>
        <a:xfrm>
          <a:off x="278277" y="456324"/>
          <a:ext cx="1875821" cy="1308429"/>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2000" r="-1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7AB7E48-DD0A-4FD3-A476-4FCF10FEC2BC}">
      <dsp:nvSpPr>
        <dsp:cNvPr id="0" name=""/>
        <dsp:cNvSpPr/>
      </dsp:nvSpPr>
      <dsp:spPr>
        <a:xfrm rot="10800000">
          <a:off x="228562" y="1911295"/>
          <a:ext cx="1897855" cy="3209394"/>
        </a:xfrm>
        <a:prstGeom prst="round2SameRect">
          <a:avLst>
            <a:gd name="adj1" fmla="val 10500"/>
            <a:gd name="adj2" fmla="val 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sk-SK" sz="1400" kern="1200" dirty="0"/>
            <a:t>Všetci odberatelia pripojení</a:t>
          </a:r>
        </a:p>
        <a:p>
          <a:pPr marL="0" lvl="0" indent="0" algn="l" defTabSz="622300">
            <a:lnSpc>
              <a:spcPct val="90000"/>
            </a:lnSpc>
            <a:spcBef>
              <a:spcPct val="0"/>
            </a:spcBef>
            <a:spcAft>
              <a:spcPct val="35000"/>
            </a:spcAft>
            <a:buNone/>
          </a:pPr>
          <a:endParaRPr lang="sk-SK" sz="1400" kern="1200" dirty="0"/>
        </a:p>
        <a:p>
          <a:pPr marL="0" lvl="0" indent="0" algn="l" defTabSz="622300">
            <a:lnSpc>
              <a:spcPct val="90000"/>
            </a:lnSpc>
            <a:spcBef>
              <a:spcPct val="0"/>
            </a:spcBef>
            <a:spcAft>
              <a:spcPct val="35000"/>
            </a:spcAft>
            <a:buNone/>
          </a:pPr>
          <a:r>
            <a:rPr lang="sk-SK" sz="1400" kern="1200" dirty="0"/>
            <a:t>Elektrické rozvody  vyhovujú platným normám STN </a:t>
          </a:r>
        </a:p>
        <a:p>
          <a:pPr marL="0" lvl="0" indent="0" algn="l" defTabSz="622300">
            <a:lnSpc>
              <a:spcPct val="90000"/>
            </a:lnSpc>
            <a:spcBef>
              <a:spcPct val="0"/>
            </a:spcBef>
            <a:spcAft>
              <a:spcPct val="35000"/>
            </a:spcAft>
            <a:buNone/>
          </a:pPr>
          <a:endParaRPr lang="sk-SK" sz="1400" kern="1200" dirty="0"/>
        </a:p>
        <a:p>
          <a:pPr marL="0" lvl="0" indent="0" algn="l" defTabSz="622300">
            <a:lnSpc>
              <a:spcPct val="90000"/>
            </a:lnSpc>
            <a:spcBef>
              <a:spcPct val="0"/>
            </a:spcBef>
            <a:spcAft>
              <a:spcPct val="35000"/>
            </a:spcAft>
            <a:buNone/>
          </a:pPr>
          <a:r>
            <a:rPr lang="sk-SK" sz="1400" kern="1200" dirty="0"/>
            <a:t>Bezpečná inštalácia</a:t>
          </a:r>
        </a:p>
        <a:p>
          <a:pPr marL="0" lvl="0" indent="0" algn="ctr" defTabSz="622300">
            <a:lnSpc>
              <a:spcPct val="90000"/>
            </a:lnSpc>
            <a:spcBef>
              <a:spcPct val="0"/>
            </a:spcBef>
            <a:spcAft>
              <a:spcPct val="35000"/>
            </a:spcAft>
            <a:buNone/>
          </a:pPr>
          <a:endParaRPr lang="sk-SK" sz="1200" kern="1200" dirty="0"/>
        </a:p>
      </dsp:txBody>
      <dsp:txXfrm rot="10800000">
        <a:off x="286928" y="1911295"/>
        <a:ext cx="1781123" cy="3151028"/>
      </dsp:txXfrm>
    </dsp:sp>
    <dsp:sp modelId="{9B6F06B5-8858-4F74-91C6-EAA83F0E33E3}">
      <dsp:nvSpPr>
        <dsp:cNvPr id="0" name=""/>
        <dsp:cNvSpPr/>
      </dsp:nvSpPr>
      <dsp:spPr>
        <a:xfrm>
          <a:off x="6588730" y="413707"/>
          <a:ext cx="1897855" cy="1298271"/>
        </a:xfrm>
        <a:prstGeom prst="roundRect">
          <a:avLst>
            <a:gd name="adj" fmla="val 10000"/>
          </a:avLst>
        </a:prstGeom>
        <a:blipFill rotWithShape="1">
          <a:blip xmlns:r="http://schemas.openxmlformats.org/officeDocument/2006/relationships" r:embed="rId2" cstate="print"/>
          <a:srcRect/>
          <a:stretch>
            <a:fillRect t="-5000" b="-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DB092A1-34D8-418F-A988-337D87FCBEE3}">
      <dsp:nvSpPr>
        <dsp:cNvPr id="0" name=""/>
        <dsp:cNvSpPr/>
      </dsp:nvSpPr>
      <dsp:spPr>
        <a:xfrm rot="10800000">
          <a:off x="2316203" y="1911295"/>
          <a:ext cx="1897855" cy="3209394"/>
        </a:xfrm>
        <a:prstGeom prst="round2SameRect">
          <a:avLst>
            <a:gd name="adj1" fmla="val 10500"/>
            <a:gd name="adj2" fmla="val 0"/>
          </a:avLst>
        </a:prstGeom>
        <a:solidFill>
          <a:schemeClr val="accent2">
            <a:hueOff val="-2821380"/>
            <a:satOff val="8695"/>
            <a:lumOff val="-424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sk-SK" sz="1400" kern="1200" dirty="0"/>
            <a:t>Prvé vyúčtovania </a:t>
          </a:r>
        </a:p>
        <a:p>
          <a:pPr marL="0" lvl="0" indent="0" algn="l" defTabSz="622300">
            <a:lnSpc>
              <a:spcPct val="90000"/>
            </a:lnSpc>
            <a:spcBef>
              <a:spcPct val="0"/>
            </a:spcBef>
            <a:spcAft>
              <a:spcPct val="35000"/>
            </a:spcAft>
            <a:buNone/>
          </a:pPr>
          <a:r>
            <a:rPr lang="sk-SK" sz="1400" kern="1200" dirty="0"/>
            <a:t>Nedoplatky, rušenie  zmlúv o dodávke</a:t>
          </a:r>
        </a:p>
        <a:p>
          <a:pPr marL="0" lvl="0" indent="0" algn="l" defTabSz="622300">
            <a:lnSpc>
              <a:spcPct val="90000"/>
            </a:lnSpc>
            <a:spcBef>
              <a:spcPct val="0"/>
            </a:spcBef>
            <a:spcAft>
              <a:spcPct val="35000"/>
            </a:spcAft>
            <a:buNone/>
          </a:pPr>
          <a:r>
            <a:rPr lang="sk-SK" sz="1400" kern="1200" dirty="0"/>
            <a:t>Demontáž elektromerov </a:t>
          </a:r>
        </a:p>
        <a:p>
          <a:pPr marL="0" lvl="0" indent="0" algn="l" defTabSz="622300">
            <a:lnSpc>
              <a:spcPct val="90000"/>
            </a:lnSpc>
            <a:spcBef>
              <a:spcPct val="0"/>
            </a:spcBef>
            <a:spcAft>
              <a:spcPct val="35000"/>
            </a:spcAft>
            <a:buNone/>
          </a:pPr>
          <a:r>
            <a:rPr lang="sk-SK" sz="1400" kern="1200" dirty="0"/>
            <a:t>Neodborné zásahy </a:t>
          </a:r>
          <a:br>
            <a:rPr lang="sk-SK" sz="1400" kern="1200" dirty="0"/>
          </a:br>
          <a:r>
            <a:rPr lang="sk-SK" sz="1400" kern="1200" dirty="0"/>
            <a:t>do elektroinštalácie</a:t>
          </a:r>
        </a:p>
        <a:p>
          <a:pPr marL="0" lvl="0" indent="0" algn="l" defTabSz="622300">
            <a:lnSpc>
              <a:spcPct val="90000"/>
            </a:lnSpc>
            <a:spcBef>
              <a:spcPct val="0"/>
            </a:spcBef>
            <a:spcAft>
              <a:spcPct val="35000"/>
            </a:spcAft>
            <a:buNone/>
          </a:pPr>
          <a:r>
            <a:rPr lang="sk-SK" sz="1400" kern="1200" dirty="0"/>
            <a:t>Zistené krádeže elektriny</a:t>
          </a:r>
        </a:p>
        <a:p>
          <a:pPr marL="0" lvl="0" indent="0" algn="l" defTabSz="622300">
            <a:lnSpc>
              <a:spcPct val="90000"/>
            </a:lnSpc>
            <a:spcBef>
              <a:spcPct val="0"/>
            </a:spcBef>
            <a:spcAft>
              <a:spcPct val="35000"/>
            </a:spcAft>
            <a:buNone/>
          </a:pPr>
          <a:r>
            <a:rPr lang="sk-SK" sz="1400" kern="1200" dirty="0"/>
            <a:t>Pokles počtu OM</a:t>
          </a:r>
        </a:p>
        <a:p>
          <a:pPr marL="0" lvl="0" indent="0" algn="l" defTabSz="622300">
            <a:lnSpc>
              <a:spcPct val="90000"/>
            </a:lnSpc>
            <a:spcBef>
              <a:spcPct val="0"/>
            </a:spcBef>
            <a:spcAft>
              <a:spcPct val="35000"/>
            </a:spcAft>
            <a:buNone/>
          </a:pPr>
          <a:endParaRPr lang="sk-SK" sz="1400" kern="1200" dirty="0"/>
        </a:p>
      </dsp:txBody>
      <dsp:txXfrm rot="10800000">
        <a:off x="2374569" y="1911295"/>
        <a:ext cx="1781123" cy="3151028"/>
      </dsp:txXfrm>
    </dsp:sp>
    <dsp:sp modelId="{BD3D8042-5BBF-4B80-8876-E8F08C58CB3A}">
      <dsp:nvSpPr>
        <dsp:cNvPr id="0" name=""/>
        <dsp:cNvSpPr/>
      </dsp:nvSpPr>
      <dsp:spPr>
        <a:xfrm>
          <a:off x="2274469" y="429184"/>
          <a:ext cx="1897855" cy="1298271"/>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5000" b="-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8C4E0F0-B23A-428A-98D2-0C2144E7B0BF}">
      <dsp:nvSpPr>
        <dsp:cNvPr id="0" name=""/>
        <dsp:cNvSpPr/>
      </dsp:nvSpPr>
      <dsp:spPr>
        <a:xfrm rot="10800000">
          <a:off x="4403843" y="1911295"/>
          <a:ext cx="1897855" cy="3209394"/>
        </a:xfrm>
        <a:prstGeom prst="round2SameRect">
          <a:avLst>
            <a:gd name="adj1" fmla="val 10500"/>
            <a:gd name="adj2" fmla="val 0"/>
          </a:avLst>
        </a:prstGeom>
        <a:solidFill>
          <a:schemeClr val="accent2">
            <a:hueOff val="-5642759"/>
            <a:satOff val="17389"/>
            <a:lumOff val="-849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marL="0" lvl="0" algn="l" defTabSz="622300">
            <a:lnSpc>
              <a:spcPct val="90000"/>
            </a:lnSpc>
            <a:spcBef>
              <a:spcPct val="0"/>
            </a:spcBef>
            <a:spcAft>
              <a:spcPct val="35000"/>
            </a:spcAft>
            <a:buNone/>
          </a:pPr>
          <a:r>
            <a:rPr lang="sk-SK" sz="1400" kern="1200" dirty="0"/>
            <a:t>Zvyšuje sa počet krádeží elektriny</a:t>
          </a:r>
        </a:p>
        <a:p>
          <a:pPr marL="0" lvl="0" algn="l" defTabSz="622300">
            <a:lnSpc>
              <a:spcPct val="90000"/>
            </a:lnSpc>
            <a:spcBef>
              <a:spcPct val="0"/>
            </a:spcBef>
            <a:spcAft>
              <a:spcPct val="35000"/>
            </a:spcAft>
            <a:buNone/>
          </a:pPr>
          <a:r>
            <a:rPr lang="sk-SK" sz="1400" kern="1200" dirty="0"/>
            <a:t>Prepájanie bytov, predaj elektriny, úžera</a:t>
          </a:r>
        </a:p>
        <a:p>
          <a:pPr marL="0" marR="0" lvl="0" indent="0" algn="l" defTabSz="914400" eaLnBrk="1" fontAlgn="auto" latinLnBrk="0" hangingPunct="1">
            <a:lnSpc>
              <a:spcPct val="100000"/>
            </a:lnSpc>
            <a:spcBef>
              <a:spcPct val="0"/>
            </a:spcBef>
            <a:spcAft>
              <a:spcPts val="0"/>
            </a:spcAft>
            <a:buClrTx/>
            <a:buSzTx/>
            <a:buFontTx/>
            <a:buNone/>
            <a:tabLst/>
            <a:defRPr/>
          </a:pPr>
          <a:r>
            <a:rPr lang="sk-SK" sz="1400" kern="1200" dirty="0"/>
            <a:t>Preťažovanie elektroinštalácie, poruchy, výpadky</a:t>
          </a:r>
        </a:p>
        <a:p>
          <a:pPr marL="0" marR="0" lvl="0" indent="0" algn="l" defTabSz="914400" eaLnBrk="1" fontAlgn="auto" latinLnBrk="0" hangingPunct="1">
            <a:lnSpc>
              <a:spcPct val="100000"/>
            </a:lnSpc>
            <a:spcBef>
              <a:spcPct val="0"/>
            </a:spcBef>
            <a:spcAft>
              <a:spcPts val="0"/>
            </a:spcAft>
            <a:buClrTx/>
            <a:buSzTx/>
            <a:buFontTx/>
            <a:buNone/>
            <a:tabLst/>
            <a:defRPr/>
          </a:pPr>
          <a:endParaRPr lang="sk-SK" sz="1400" kern="1200" dirty="0"/>
        </a:p>
        <a:p>
          <a:pPr marL="0" lvl="0" algn="l" defTabSz="622300">
            <a:lnSpc>
              <a:spcPct val="90000"/>
            </a:lnSpc>
            <a:spcBef>
              <a:spcPct val="0"/>
            </a:spcBef>
            <a:spcAft>
              <a:spcPct val="35000"/>
            </a:spcAft>
            <a:buNone/>
          </a:pPr>
          <a:r>
            <a:rPr lang="sk-SK" sz="1400" kern="1200" dirty="0"/>
            <a:t>Vandalizmus</a:t>
          </a:r>
        </a:p>
        <a:p>
          <a:pPr marL="0" lvl="0" algn="l" defTabSz="622300">
            <a:lnSpc>
              <a:spcPct val="90000"/>
            </a:lnSpc>
            <a:spcBef>
              <a:spcPct val="0"/>
            </a:spcBef>
            <a:spcAft>
              <a:spcPct val="35000"/>
            </a:spcAft>
            <a:buNone/>
          </a:pPr>
          <a:r>
            <a:rPr lang="sk-SK" sz="1400" kern="1200" dirty="0"/>
            <a:t>Poškodzovanie elektroinštalácie  </a:t>
          </a:r>
        </a:p>
      </dsp:txBody>
      <dsp:txXfrm rot="10800000">
        <a:off x="4462209" y="1911295"/>
        <a:ext cx="1781123" cy="3151028"/>
      </dsp:txXfrm>
    </dsp:sp>
    <dsp:sp modelId="{835BF62C-3342-4E69-9F44-AA3A395A8512}">
      <dsp:nvSpPr>
        <dsp:cNvPr id="0" name=""/>
        <dsp:cNvSpPr/>
      </dsp:nvSpPr>
      <dsp:spPr>
        <a:xfrm>
          <a:off x="4446792" y="429184"/>
          <a:ext cx="1897855" cy="1298271"/>
        </a:xfrm>
        <a:prstGeom prst="roundRect">
          <a:avLst>
            <a:gd name="adj" fmla="val 10000"/>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t="-5000" b="-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A39679A-3C29-49B1-B7C9-520C73677AE6}">
      <dsp:nvSpPr>
        <dsp:cNvPr id="0" name=""/>
        <dsp:cNvSpPr/>
      </dsp:nvSpPr>
      <dsp:spPr>
        <a:xfrm rot="10800000">
          <a:off x="6542821" y="1911295"/>
          <a:ext cx="1897855" cy="3209394"/>
        </a:xfrm>
        <a:prstGeom prst="round2SameRect">
          <a:avLst>
            <a:gd name="adj1" fmla="val 10500"/>
            <a:gd name="adj2" fmla="val 0"/>
          </a:avLst>
        </a:prstGeom>
        <a:solidFill>
          <a:schemeClr val="accent2">
            <a:hueOff val="-8464139"/>
            <a:satOff val="26084"/>
            <a:lumOff val="-1274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sk-SK" sz="1400" kern="1200" dirty="0"/>
            <a:t>Riziko úrazu</a:t>
          </a:r>
        </a:p>
        <a:p>
          <a:pPr marL="0" lvl="0" indent="0" algn="l" defTabSz="622300">
            <a:lnSpc>
              <a:spcPct val="90000"/>
            </a:lnSpc>
            <a:spcBef>
              <a:spcPct val="0"/>
            </a:spcBef>
            <a:spcAft>
              <a:spcPct val="35000"/>
            </a:spcAft>
            <a:buNone/>
          </a:pPr>
          <a:r>
            <a:rPr lang="sk-SK" sz="1400" kern="1200" dirty="0"/>
            <a:t>Riziko požiaru</a:t>
          </a:r>
        </a:p>
        <a:p>
          <a:pPr marL="0" lvl="0" indent="0" algn="l" defTabSz="622300">
            <a:lnSpc>
              <a:spcPct val="90000"/>
            </a:lnSpc>
            <a:spcBef>
              <a:spcPct val="0"/>
            </a:spcBef>
            <a:spcAft>
              <a:spcPct val="35000"/>
            </a:spcAft>
            <a:buNone/>
          </a:pPr>
          <a:r>
            <a:rPr lang="sk-SK" sz="1400" kern="1200" dirty="0"/>
            <a:t>Nevyhovujúci technicky stav</a:t>
          </a:r>
        </a:p>
        <a:p>
          <a:pPr marL="0" lvl="0" indent="0" algn="l" defTabSz="622300">
            <a:lnSpc>
              <a:spcPct val="90000"/>
            </a:lnSpc>
            <a:spcBef>
              <a:spcPct val="0"/>
            </a:spcBef>
            <a:spcAft>
              <a:spcPct val="35000"/>
            </a:spcAft>
            <a:buNone/>
          </a:pPr>
          <a:r>
            <a:rPr lang="sk-SK" sz="1400" kern="1200" dirty="0"/>
            <a:t>Minimálny počet legálne pripojených (1/3)</a:t>
          </a:r>
        </a:p>
        <a:p>
          <a:pPr marL="0" lvl="0" indent="0" algn="l" defTabSz="622300">
            <a:lnSpc>
              <a:spcPct val="90000"/>
            </a:lnSpc>
            <a:spcBef>
              <a:spcPct val="0"/>
            </a:spcBef>
            <a:spcAft>
              <a:spcPct val="35000"/>
            </a:spcAft>
            <a:buNone/>
          </a:pPr>
          <a:r>
            <a:rPr lang="sk-SK" sz="1400" kern="1200" dirty="0"/>
            <a:t>Možnosť odpojenia bytovky zo strany VSD</a:t>
          </a:r>
        </a:p>
        <a:p>
          <a:pPr marL="0" lvl="0" indent="0" algn="l" defTabSz="622300">
            <a:lnSpc>
              <a:spcPct val="90000"/>
            </a:lnSpc>
            <a:spcBef>
              <a:spcPct val="0"/>
            </a:spcBef>
            <a:spcAft>
              <a:spcPct val="35000"/>
            </a:spcAft>
            <a:buNone/>
          </a:pPr>
          <a:r>
            <a:rPr lang="sk-SK" sz="1400" kern="1200" dirty="0"/>
            <a:t>Vandalizmus</a:t>
          </a:r>
        </a:p>
        <a:p>
          <a:pPr marL="0" lvl="0" indent="0" algn="l" defTabSz="622300">
            <a:lnSpc>
              <a:spcPct val="90000"/>
            </a:lnSpc>
            <a:spcBef>
              <a:spcPct val="0"/>
            </a:spcBef>
            <a:spcAft>
              <a:spcPct val="35000"/>
            </a:spcAft>
            <a:buNone/>
          </a:pPr>
          <a:r>
            <a:rPr lang="sk-SK" sz="1400" kern="1200" dirty="0"/>
            <a:t>Poškodzovanie elektroinštalácie </a:t>
          </a:r>
        </a:p>
        <a:p>
          <a:pPr marL="0" lvl="0" indent="0" algn="ctr" defTabSz="622300">
            <a:lnSpc>
              <a:spcPct val="90000"/>
            </a:lnSpc>
            <a:spcBef>
              <a:spcPct val="0"/>
            </a:spcBef>
            <a:spcAft>
              <a:spcPct val="35000"/>
            </a:spcAft>
            <a:buNone/>
          </a:pPr>
          <a:endParaRPr lang="sk-SK" sz="1400" kern="1200" dirty="0"/>
        </a:p>
      </dsp:txBody>
      <dsp:txXfrm rot="10800000">
        <a:off x="6601187" y="1911295"/>
        <a:ext cx="1781123" cy="315102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AE963A-5974-41F6-AB71-50A6254B5332}">
      <dsp:nvSpPr>
        <dsp:cNvPr id="0" name=""/>
        <dsp:cNvSpPr/>
      </dsp:nvSpPr>
      <dsp:spPr>
        <a:xfrm rot="16200000">
          <a:off x="701363" y="-701363"/>
          <a:ext cx="2521708" cy="3924436"/>
        </a:xfrm>
        <a:prstGeom prst="round1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42240" tIns="142240" rIns="142240" bIns="142240" numCol="1" spcCol="1270" anchor="t" anchorCtr="0">
          <a:noAutofit/>
        </a:bodyPr>
        <a:lstStyle/>
        <a:p>
          <a:pPr marL="0" lvl="0" indent="0" algn="ctr" defTabSz="889000">
            <a:lnSpc>
              <a:spcPct val="90000"/>
            </a:lnSpc>
            <a:spcBef>
              <a:spcPct val="0"/>
            </a:spcBef>
            <a:spcAft>
              <a:spcPct val="35000"/>
            </a:spcAft>
            <a:buNone/>
          </a:pPr>
          <a:r>
            <a:rPr lang="sk-SK" sz="2000" b="1" kern="1200" dirty="0"/>
            <a:t>Technické podmienky</a:t>
          </a:r>
        </a:p>
        <a:p>
          <a:pPr marL="0" lvl="0" indent="0" algn="l" defTabSz="889000">
            <a:lnSpc>
              <a:spcPct val="90000"/>
            </a:lnSpc>
            <a:spcBef>
              <a:spcPct val="0"/>
            </a:spcBef>
            <a:spcAft>
              <a:spcPct val="35000"/>
            </a:spcAft>
            <a:buNone/>
          </a:pPr>
          <a:r>
            <a:rPr lang="sk-SK" altLang="sk-SK" sz="1400" b="0" i="0" kern="1200" dirty="0"/>
            <a:t>Technické riešenie je individuálne a záleží od miestnej situácie. </a:t>
          </a:r>
          <a:r>
            <a:rPr lang="sk-SK" altLang="sk-SK" sz="1400" b="0" kern="1200" dirty="0"/>
            <a:t>Distribučné transformačné stanice a elektromerový rozvádzač na mieste </a:t>
          </a:r>
          <a:br>
            <a:rPr lang="sk-SK" altLang="sk-SK" sz="1400" b="0" kern="1200" dirty="0"/>
          </a:br>
          <a:r>
            <a:rPr lang="sk-SK" altLang="sk-SK" sz="1400" b="0" kern="1200" dirty="0"/>
            <a:t>s dostatočnou </a:t>
          </a:r>
          <a:r>
            <a:rPr lang="sk-SK" altLang="sk-SK" sz="1400" kern="1200" dirty="0"/>
            <a:t>verejnou kontrolou. Nemerané časti elektroinštalácie nesmú prechádzať jadrom bytoviek. </a:t>
          </a:r>
          <a:r>
            <a:rPr lang="sk-SK" altLang="sk-SK" sz="1400" b="0" i="0" kern="1200" dirty="0"/>
            <a:t>Prevedenie „</a:t>
          </a:r>
          <a:r>
            <a:rPr lang="sk-SK" altLang="sk-SK" sz="1400" b="0" i="0" kern="1200" dirty="0" err="1"/>
            <a:t>antivandal</a:t>
          </a:r>
          <a:r>
            <a:rPr lang="sk-SK" altLang="sk-SK" sz="1400" b="0" i="0" kern="1200" dirty="0"/>
            <a:t>“ , betónové skelety rozvádzačov, </a:t>
          </a:r>
          <a:r>
            <a:rPr lang="sk-SK" altLang="sk-SK" sz="1400" b="0" kern="1200" dirty="0"/>
            <a:t>zabezpečenie proti neoprávnenému zásahu </a:t>
          </a:r>
          <a:br>
            <a:rPr lang="sk-SK" altLang="sk-SK" sz="1400" b="0" kern="1200" dirty="0"/>
          </a:br>
          <a:r>
            <a:rPr lang="sk-SK" altLang="sk-SK" sz="1400" b="0" kern="1200" dirty="0"/>
            <a:t>(kamera, zabezpečovací systém...). </a:t>
          </a:r>
          <a:r>
            <a:rPr lang="sk-SK" altLang="sk-SK" sz="1400" b="0" i="0" kern="1200" dirty="0"/>
            <a:t> </a:t>
          </a:r>
          <a:endParaRPr lang="sk-SK" sz="1400" b="0" i="0" kern="1200" dirty="0"/>
        </a:p>
        <a:p>
          <a:pPr marL="0" lvl="0" indent="0" algn="l" defTabSz="889000">
            <a:lnSpc>
              <a:spcPct val="90000"/>
            </a:lnSpc>
            <a:spcBef>
              <a:spcPct val="0"/>
            </a:spcBef>
            <a:spcAft>
              <a:spcPct val="35000"/>
            </a:spcAft>
            <a:buNone/>
          </a:pPr>
          <a:endParaRPr lang="sk-SK" sz="1600" b="1" kern="1200" dirty="0"/>
        </a:p>
      </dsp:txBody>
      <dsp:txXfrm rot="5400000">
        <a:off x="0" y="0"/>
        <a:ext cx="3924436" cy="1891281"/>
      </dsp:txXfrm>
    </dsp:sp>
    <dsp:sp modelId="{C82EEF4A-B87A-481D-A251-DCDDCB8CD4B5}">
      <dsp:nvSpPr>
        <dsp:cNvPr id="0" name=""/>
        <dsp:cNvSpPr/>
      </dsp:nvSpPr>
      <dsp:spPr>
        <a:xfrm>
          <a:off x="3924436" y="0"/>
          <a:ext cx="3924436" cy="2521708"/>
        </a:xfrm>
        <a:prstGeom prst="round1Rect">
          <a:avLst/>
        </a:prstGeom>
        <a:gradFill rotWithShape="0">
          <a:gsLst>
            <a:gs pos="0">
              <a:schemeClr val="accent2">
                <a:hueOff val="-2821380"/>
                <a:satOff val="8695"/>
                <a:lumOff val="-4248"/>
                <a:alphaOff val="0"/>
                <a:shade val="51000"/>
                <a:satMod val="130000"/>
              </a:schemeClr>
            </a:gs>
            <a:gs pos="80000">
              <a:schemeClr val="accent2">
                <a:hueOff val="-2821380"/>
                <a:satOff val="8695"/>
                <a:lumOff val="-4248"/>
                <a:alphaOff val="0"/>
                <a:shade val="93000"/>
                <a:satMod val="130000"/>
              </a:schemeClr>
            </a:gs>
            <a:gs pos="100000">
              <a:schemeClr val="accent2">
                <a:hueOff val="-2821380"/>
                <a:satOff val="8695"/>
                <a:lumOff val="-424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42240" tIns="142240" rIns="142240" bIns="142240" numCol="1" spcCol="1270" anchor="t" anchorCtr="0">
          <a:noAutofit/>
        </a:bodyPr>
        <a:lstStyle/>
        <a:p>
          <a:pPr marL="0" lvl="0" indent="0" algn="ctr" defTabSz="889000">
            <a:lnSpc>
              <a:spcPct val="90000"/>
            </a:lnSpc>
            <a:spcBef>
              <a:spcPct val="0"/>
            </a:spcBef>
            <a:spcAft>
              <a:spcPct val="35000"/>
            </a:spcAft>
            <a:buNone/>
          </a:pPr>
          <a:r>
            <a:rPr lang="sk-SK" sz="2000" b="1" kern="1200" dirty="0"/>
            <a:t>Smart  riešenie</a:t>
          </a:r>
        </a:p>
        <a:p>
          <a:pPr marL="0" lvl="0" indent="0" algn="l" defTabSz="889000">
            <a:lnSpc>
              <a:spcPct val="90000"/>
            </a:lnSpc>
            <a:spcBef>
              <a:spcPct val="0"/>
            </a:spcBef>
            <a:spcAft>
              <a:spcPct val="35000"/>
            </a:spcAft>
            <a:buNone/>
          </a:pPr>
          <a:r>
            <a:rPr lang="sk-SK" sz="1400" b="0" kern="1200" dirty="0"/>
            <a:t>Systém merania  a distribúcie elektriny využitím nových technológii ako sú IMS  elektromery s odpojovačom, GSM/GPRS komunikáciou a PLC komunikáciou (p</a:t>
          </a:r>
          <a:r>
            <a:rPr lang="pl-PL" sz="1400" b="0" kern="1200" dirty="0"/>
            <a:t>renos údajov </a:t>
          </a:r>
          <a:r>
            <a:rPr lang="sk-SK" sz="1400" b="0" kern="1200" dirty="0"/>
            <a:t>prostredníctvom silových kábloch elektrických sietí), k</a:t>
          </a:r>
          <a:r>
            <a:rPr lang="sk-SK" altLang="sk-SK" sz="1400" b="0" kern="1200" dirty="0"/>
            <a:t>oncentrátor.</a:t>
          </a:r>
          <a:endParaRPr lang="sk-SK" sz="1400" b="0" kern="1200" dirty="0"/>
        </a:p>
      </dsp:txBody>
      <dsp:txXfrm>
        <a:off x="3924436" y="0"/>
        <a:ext cx="3924436" cy="1891281"/>
      </dsp:txXfrm>
    </dsp:sp>
    <dsp:sp modelId="{60A93535-18FA-4D26-B5CA-AF7B22BB84D4}">
      <dsp:nvSpPr>
        <dsp:cNvPr id="0" name=""/>
        <dsp:cNvSpPr/>
      </dsp:nvSpPr>
      <dsp:spPr>
        <a:xfrm rot="10800000">
          <a:off x="0" y="2521708"/>
          <a:ext cx="3924436" cy="2521708"/>
        </a:xfrm>
        <a:prstGeom prst="round1Rect">
          <a:avLst/>
        </a:prstGeom>
        <a:gradFill rotWithShape="0">
          <a:gsLst>
            <a:gs pos="0">
              <a:schemeClr val="accent2">
                <a:hueOff val="-5642759"/>
                <a:satOff val="17389"/>
                <a:lumOff val="-8496"/>
                <a:alphaOff val="0"/>
                <a:shade val="51000"/>
                <a:satMod val="130000"/>
              </a:schemeClr>
            </a:gs>
            <a:gs pos="80000">
              <a:schemeClr val="accent2">
                <a:hueOff val="-5642759"/>
                <a:satOff val="17389"/>
                <a:lumOff val="-8496"/>
                <a:alphaOff val="0"/>
                <a:shade val="93000"/>
                <a:satMod val="130000"/>
              </a:schemeClr>
            </a:gs>
            <a:gs pos="100000">
              <a:schemeClr val="accent2">
                <a:hueOff val="-5642759"/>
                <a:satOff val="17389"/>
                <a:lumOff val="-8496"/>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42240" tIns="0" rIns="142240" bIns="142240" numCol="1" spcCol="1270" anchor="t" anchorCtr="0">
          <a:noAutofit/>
        </a:bodyPr>
        <a:lstStyle/>
        <a:p>
          <a:pPr marL="0" lvl="0" indent="0" algn="ctr" defTabSz="889000">
            <a:lnSpc>
              <a:spcPct val="90000"/>
            </a:lnSpc>
            <a:spcBef>
              <a:spcPct val="0"/>
            </a:spcBef>
            <a:spcAft>
              <a:spcPct val="35000"/>
            </a:spcAft>
            <a:buNone/>
          </a:pPr>
          <a:r>
            <a:rPr lang="sk-SK" sz="2000" b="1" kern="1200" dirty="0"/>
            <a:t>Distribučné  podmienky</a:t>
          </a:r>
        </a:p>
        <a:p>
          <a:pPr marL="0" lvl="0" indent="0" algn="l" defTabSz="889000">
            <a:lnSpc>
              <a:spcPct val="90000"/>
            </a:lnSpc>
            <a:spcBef>
              <a:spcPct val="0"/>
            </a:spcBef>
            <a:spcAft>
              <a:spcPct val="35000"/>
            </a:spcAft>
            <a:buNone/>
          </a:pPr>
          <a:r>
            <a:rPr lang="sk-SK" altLang="sk-SK" sz="1400" b="0" kern="1200" dirty="0"/>
            <a:t>Sadzba pre domácnosti, určená </a:t>
          </a:r>
          <a:r>
            <a:rPr lang="sk-SK" sz="1400" b="0" i="0" u="none" strike="noStrike" kern="1200" baseline="0" dirty="0">
              <a:latin typeface="+mn-lt"/>
              <a:ea typeface="+mn-ea"/>
              <a:cs typeface="+mn-cs"/>
            </a:rPr>
            <a:t>výlučne pre zabezpečenie dodávky elektriny pre byty a nebytové priestory domácností, </a:t>
          </a:r>
          <a:r>
            <a:rPr lang="sk-SK" altLang="sk-SK" sz="1400" b="0" kern="1200" dirty="0"/>
            <a:t> jedno odberné miesto, mesačná fakturácia, bez poplatkov za maximálnu rezervovanú kapacitu.</a:t>
          </a:r>
          <a:endParaRPr lang="sk-SK" sz="1400" b="0" kern="1200" dirty="0"/>
        </a:p>
      </dsp:txBody>
      <dsp:txXfrm rot="10800000">
        <a:off x="0" y="3152135"/>
        <a:ext cx="3924436" cy="1891281"/>
      </dsp:txXfrm>
    </dsp:sp>
    <dsp:sp modelId="{19994D9F-E372-4297-A014-2F64C041210C}">
      <dsp:nvSpPr>
        <dsp:cNvPr id="0" name=""/>
        <dsp:cNvSpPr/>
      </dsp:nvSpPr>
      <dsp:spPr>
        <a:xfrm rot="5400000">
          <a:off x="4625799" y="1820344"/>
          <a:ext cx="2521708" cy="3924436"/>
        </a:xfrm>
        <a:prstGeom prst="round1Rect">
          <a:avLst/>
        </a:prstGeom>
        <a:gradFill rotWithShape="0">
          <a:gsLst>
            <a:gs pos="0">
              <a:schemeClr val="accent2">
                <a:hueOff val="-8464139"/>
                <a:satOff val="26084"/>
                <a:lumOff val="-12744"/>
                <a:alphaOff val="0"/>
                <a:shade val="51000"/>
                <a:satMod val="130000"/>
              </a:schemeClr>
            </a:gs>
            <a:gs pos="80000">
              <a:schemeClr val="accent2">
                <a:hueOff val="-8464139"/>
                <a:satOff val="26084"/>
                <a:lumOff val="-12744"/>
                <a:alphaOff val="0"/>
                <a:shade val="93000"/>
                <a:satMod val="130000"/>
              </a:schemeClr>
            </a:gs>
            <a:gs pos="100000">
              <a:schemeClr val="accent2">
                <a:hueOff val="-8464139"/>
                <a:satOff val="26084"/>
                <a:lumOff val="-12744"/>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15200" tIns="0" rIns="115200" bIns="115200" numCol="1" spcCol="1270" anchor="t" anchorCtr="0">
          <a:noAutofit/>
        </a:bodyPr>
        <a:lstStyle/>
        <a:p>
          <a:pPr marL="0" lvl="0" indent="0" algn="ctr" defTabSz="889000">
            <a:lnSpc>
              <a:spcPct val="90000"/>
            </a:lnSpc>
            <a:spcBef>
              <a:spcPct val="0"/>
            </a:spcBef>
            <a:spcAft>
              <a:spcPct val="35000"/>
            </a:spcAft>
            <a:buNone/>
          </a:pPr>
          <a:r>
            <a:rPr lang="sk-SK" sz="2000" b="1" kern="1200" dirty="0"/>
            <a:t>IT aplikácia </a:t>
          </a:r>
        </a:p>
        <a:p>
          <a:pPr marL="0" lvl="0" indent="0" algn="l" defTabSz="889000">
            <a:lnSpc>
              <a:spcPct val="90000"/>
            </a:lnSpc>
            <a:spcBef>
              <a:spcPct val="0"/>
            </a:spcBef>
            <a:spcAft>
              <a:spcPct val="35000"/>
            </a:spcAft>
            <a:buNone/>
          </a:pPr>
          <a:r>
            <a:rPr lang="sk-SK" sz="1400" kern="1200" dirty="0"/>
            <a:t>Umožňuje správu systému merania, evidovanie platieb, zapínanie a vypínanie dodávky elektriny v byte na diaľku.  Umožňuje sledovanie spotreby nájomníkom na e-mailoch alebo smartfónoch.</a:t>
          </a:r>
        </a:p>
      </dsp:txBody>
      <dsp:txXfrm rot="-5400000">
        <a:off x="3924436" y="3152135"/>
        <a:ext cx="3924436" cy="1891281"/>
      </dsp:txXfrm>
    </dsp:sp>
    <dsp:sp modelId="{7A7B9C76-1E76-4689-88F0-B721FEA8CCE5}">
      <dsp:nvSpPr>
        <dsp:cNvPr id="0" name=""/>
        <dsp:cNvSpPr/>
      </dsp:nvSpPr>
      <dsp:spPr>
        <a:xfrm>
          <a:off x="3010014" y="2021666"/>
          <a:ext cx="1828842" cy="1000084"/>
        </a:xfrm>
        <a:prstGeom prst="roundRect">
          <a:avLst/>
        </a:prstGeom>
        <a:solidFill>
          <a:schemeClr val="accent2">
            <a:tint val="4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flat" dir="t"/>
        </a:scene3d>
        <a:sp3d z="190500" prstMaterial="plastic">
          <a:bevelT w="120900" h="88900"/>
          <a:bevelB w="88900" h="31750" prst="angle"/>
        </a:sp3d>
      </dsp:spPr>
      <dsp:style>
        <a:lnRef idx="0">
          <a:scrgbClr r="0" g="0" b="0"/>
        </a:lnRef>
        <a:fillRef idx="1">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sk-SK" sz="2000" b="1" i="0" kern="1200" dirty="0"/>
            <a:t>Predplatená elektrina</a:t>
          </a:r>
        </a:p>
      </dsp:txBody>
      <dsp:txXfrm>
        <a:off x="3058834" y="2070486"/>
        <a:ext cx="1731202" cy="902444"/>
      </dsp:txXfrm>
    </dsp:sp>
  </dsp:spTree>
</dsp:drawing>
</file>

<file path=ppt/diagrams/layout1.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2.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Datumsplatzhalter 2"/>
          <p:cNvSpPr>
            <a:spLocks noGrp="1"/>
          </p:cNvSpPr>
          <p:nvPr>
            <p:ph type="dt" idx="1"/>
          </p:nvPr>
        </p:nvSpPr>
        <p:spPr>
          <a:xfrm>
            <a:off x="463616" y="9477037"/>
            <a:ext cx="1044276" cy="184768"/>
          </a:xfrm>
          <a:prstGeom prst="rect">
            <a:avLst/>
          </a:prstGeom>
        </p:spPr>
        <p:txBody>
          <a:bodyPr vert="horz" wrap="square" lIns="0" tIns="0" rIns="0" bIns="0" rtlCol="0">
            <a:spAutoFit/>
          </a:bodyPr>
          <a:lstStyle>
            <a:lvl1pPr algn="l" eaLnBrk="1" fontAlgn="auto" hangingPunct="1">
              <a:spcBef>
                <a:spcPts val="0"/>
              </a:spcBef>
              <a:spcAft>
                <a:spcPts val="0"/>
              </a:spcAft>
              <a:defRPr sz="1200">
                <a:latin typeface="+mn-lt"/>
              </a:defRPr>
            </a:lvl1pPr>
          </a:lstStyle>
          <a:p>
            <a:pPr>
              <a:defRPr/>
            </a:pPr>
            <a:fld id="{7014E412-2BFF-4E74-B803-C1C69B916E3A}" type="datetime1">
              <a:rPr lang="en-GB"/>
              <a:pPr>
                <a:defRPr/>
              </a:pPr>
              <a:t>22/01/2019</a:t>
            </a:fld>
            <a:endParaRPr lang="en-GB"/>
          </a:p>
        </p:txBody>
      </p:sp>
      <p:sp>
        <p:nvSpPr>
          <p:cNvPr id="7" name="Foliennummernplatzhalter 6"/>
          <p:cNvSpPr>
            <a:spLocks noGrp="1"/>
          </p:cNvSpPr>
          <p:nvPr>
            <p:ph type="sldNum" sz="quarter" idx="3"/>
          </p:nvPr>
        </p:nvSpPr>
        <p:spPr>
          <a:xfrm>
            <a:off x="5438751" y="9493974"/>
            <a:ext cx="878590" cy="183228"/>
          </a:xfrm>
          <a:prstGeom prst="rect">
            <a:avLst/>
          </a:prstGeom>
        </p:spPr>
        <p:txBody>
          <a:bodyPr vert="horz" wrap="square" lIns="0" tIns="0" rIns="0" bIns="0" rtlCol="0" anchor="b">
            <a:spAutoFit/>
          </a:bodyPr>
          <a:lstStyle>
            <a:lvl1pPr algn="r" eaLnBrk="1" fontAlgn="auto" hangingPunct="1">
              <a:spcBef>
                <a:spcPts val="0"/>
              </a:spcBef>
              <a:spcAft>
                <a:spcPts val="0"/>
              </a:spcAft>
              <a:defRPr sz="1200">
                <a:latin typeface="+mn-lt"/>
              </a:defRPr>
            </a:lvl1pPr>
          </a:lstStyle>
          <a:p>
            <a:pPr>
              <a:defRPr/>
            </a:pPr>
            <a:r>
              <a:rPr lang="en-GB"/>
              <a:t>  </a:t>
            </a:r>
            <a:fld id="{B3CF9DCA-5EBE-4D33-B7CA-5EA28ED567D1}" type="slidenum">
              <a:rPr lang="en-GB" smtClean="0"/>
              <a:pPr>
                <a:defRPr/>
              </a:pPr>
              <a:t>‹#›</a:t>
            </a:fld>
            <a:endParaRPr lang="en-GB"/>
          </a:p>
        </p:txBody>
      </p:sp>
      <p:pic>
        <p:nvPicPr>
          <p:cNvPr id="43012" name="Picture 2" descr="Z:\Kunden\JvM\Piske_Phoenix_MAI\innogy_logo-files_screen_preliminary\Vektor_Test\Finale_Logos\innogy_logo_M_p_RGB_schutzzon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98677" y="49272"/>
            <a:ext cx="826909" cy="1034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63616" y="9477037"/>
            <a:ext cx="1044276" cy="184768"/>
          </a:xfrm>
          <a:prstGeom prst="rect">
            <a:avLst/>
          </a:prstGeom>
        </p:spPr>
        <p:txBody>
          <a:bodyPr vert="horz" wrap="square" lIns="0" tIns="0" rIns="0" bIns="0" rtlCol="0">
            <a:spAutoFit/>
          </a:bodyPr>
          <a:lstStyle>
            <a:lvl1pPr algn="l" eaLnBrk="1" fontAlgn="auto" hangingPunct="1">
              <a:spcBef>
                <a:spcPts val="0"/>
              </a:spcBef>
              <a:spcAft>
                <a:spcPts val="0"/>
              </a:spcAft>
              <a:defRPr sz="1200">
                <a:latin typeface="+mn-lt"/>
              </a:defRPr>
            </a:lvl1pPr>
          </a:lstStyle>
          <a:p>
            <a:pPr>
              <a:defRPr/>
            </a:pPr>
            <a:fld id="{0F50A922-8D61-4329-9DB6-21C885047E42}" type="datetime1">
              <a:rPr lang="en-GB"/>
              <a:pPr>
                <a:defRPr/>
              </a:pPr>
              <a:t>22/01/2019</a:t>
            </a:fld>
            <a:endParaRPr lang="en-GB"/>
          </a:p>
        </p:txBody>
      </p:sp>
      <p:sp>
        <p:nvSpPr>
          <p:cNvPr id="4" name="Folienbildplatzhalter 3"/>
          <p:cNvSpPr>
            <a:spLocks noGrp="1" noRot="1" noChangeAspect="1"/>
          </p:cNvSpPr>
          <p:nvPr>
            <p:ph type="sldImg" idx="2"/>
          </p:nvPr>
        </p:nvSpPr>
        <p:spPr>
          <a:xfrm>
            <a:off x="1166813" y="1093788"/>
            <a:ext cx="4464050" cy="3349625"/>
          </a:xfrm>
          <a:prstGeom prst="rect">
            <a:avLst/>
          </a:prstGeom>
          <a:noFill/>
          <a:ln w="12700">
            <a:solidFill>
              <a:prstClr val="black"/>
            </a:solidFill>
          </a:ln>
        </p:spPr>
        <p:txBody>
          <a:bodyPr vert="horz" lIns="91402" tIns="45701" rIns="91402" bIns="45701" rtlCol="0" anchor="ctr"/>
          <a:lstStyle/>
          <a:p>
            <a:pPr lvl="0"/>
            <a:endParaRPr lang="de-DE" noProof="0"/>
          </a:p>
        </p:txBody>
      </p:sp>
      <p:sp>
        <p:nvSpPr>
          <p:cNvPr id="5" name="Notizenplatzhalter 4"/>
          <p:cNvSpPr>
            <a:spLocks noGrp="1"/>
          </p:cNvSpPr>
          <p:nvPr>
            <p:ph type="body" sz="quarter" idx="3"/>
          </p:nvPr>
        </p:nvSpPr>
        <p:spPr>
          <a:xfrm>
            <a:off x="463616" y="4629971"/>
            <a:ext cx="5853722" cy="4593013"/>
          </a:xfrm>
          <a:prstGeom prst="rect">
            <a:avLst/>
          </a:prstGeom>
        </p:spPr>
        <p:txBody>
          <a:bodyPr vert="horz" lIns="91402" tIns="45701" rIns="91402" bIns="45701" rtlCol="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Foliennummernplatzhalter 6"/>
          <p:cNvSpPr>
            <a:spLocks noGrp="1"/>
          </p:cNvSpPr>
          <p:nvPr>
            <p:ph type="sldNum" sz="quarter" idx="5"/>
          </p:nvPr>
        </p:nvSpPr>
        <p:spPr>
          <a:xfrm>
            <a:off x="5438751" y="9493974"/>
            <a:ext cx="878590" cy="183228"/>
          </a:xfrm>
          <a:prstGeom prst="rect">
            <a:avLst/>
          </a:prstGeom>
        </p:spPr>
        <p:txBody>
          <a:bodyPr vert="horz" wrap="square" lIns="0" tIns="0" rIns="0" bIns="0" rtlCol="0" anchor="b">
            <a:spAutoFit/>
          </a:bodyPr>
          <a:lstStyle>
            <a:lvl1pPr algn="r" eaLnBrk="1" fontAlgn="auto" hangingPunct="1">
              <a:spcBef>
                <a:spcPts val="0"/>
              </a:spcBef>
              <a:spcAft>
                <a:spcPts val="0"/>
              </a:spcAft>
              <a:defRPr sz="1200">
                <a:latin typeface="+mn-lt"/>
              </a:defRPr>
            </a:lvl1pPr>
          </a:lstStyle>
          <a:p>
            <a:pPr>
              <a:defRPr/>
            </a:pPr>
            <a:r>
              <a:rPr lang="en-GB"/>
              <a:t>  </a:t>
            </a:r>
            <a:fld id="{9C9313D2-0958-45E7-88FA-3F007C39936D}" type="slidenum">
              <a:rPr lang="en-GB" smtClean="0"/>
              <a:pPr>
                <a:defRPr/>
              </a:pPr>
              <a:t>‹#›</a:t>
            </a:fld>
            <a:endParaRPr lang="en-GB"/>
          </a:p>
        </p:txBody>
      </p:sp>
      <p:pic>
        <p:nvPicPr>
          <p:cNvPr id="41990" name="Picture 2" descr="Z:\Kunden\JvM\Piske_Phoenix_MAI\innogy_logo-files_screen_preliminary\Vektor_Test\Finale_Logos\innogy_logo_M_p_RGB_schutzzon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98677" y="49272"/>
            <a:ext cx="826909" cy="1034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hf hdr="0" ftr="0"/>
  <p:notesStyle>
    <a:lvl1pPr algn="l" rtl="0" eaLnBrk="0" fontAlgn="base" hangingPunct="0">
      <a:spcBef>
        <a:spcPts val="1200"/>
      </a:spcBef>
      <a:spcAft>
        <a:spcPct val="0"/>
      </a:spcAft>
      <a:defRPr sz="1200" b="1" kern="1200">
        <a:solidFill>
          <a:schemeClr val="tx1"/>
        </a:solidFill>
        <a:latin typeface="+mn-lt"/>
        <a:ea typeface="+mn-ea"/>
        <a:cs typeface="+mn-cs"/>
      </a:defRPr>
    </a:lvl1pPr>
    <a:lvl2pPr algn="l" rtl="0" eaLnBrk="0" fontAlgn="base" hangingPunct="0">
      <a:spcBef>
        <a:spcPts val="800"/>
      </a:spcBef>
      <a:spcAft>
        <a:spcPct val="0"/>
      </a:spcAft>
      <a:defRPr sz="1200" kern="1200">
        <a:solidFill>
          <a:schemeClr val="tx1"/>
        </a:solidFill>
        <a:latin typeface="+mn-lt"/>
        <a:ea typeface="+mn-ea"/>
        <a:cs typeface="+mn-cs"/>
      </a:defRPr>
    </a:lvl2pPr>
    <a:lvl3pPr marL="179388" indent="-179388" algn="l" rtl="0" eaLnBrk="0" fontAlgn="base" hangingPunct="0">
      <a:spcBef>
        <a:spcPts val="600"/>
      </a:spcBef>
      <a:spcAft>
        <a:spcPct val="0"/>
      </a:spcAft>
      <a:buFont typeface="Arial" panose="020B0604020202020204" pitchFamily="34" charset="0"/>
      <a:buChar char="•"/>
      <a:defRPr sz="1200" kern="1200">
        <a:solidFill>
          <a:schemeClr val="tx1"/>
        </a:solidFill>
        <a:latin typeface="+mn-lt"/>
        <a:ea typeface="+mn-ea"/>
        <a:cs typeface="+mn-cs"/>
      </a:defRPr>
    </a:lvl3pPr>
    <a:lvl4pPr marL="358775" indent="-179388" algn="l" rtl="0" eaLnBrk="0" fontAlgn="base" hangingPunct="0">
      <a:spcBef>
        <a:spcPts val="300"/>
      </a:spcBef>
      <a:spcAft>
        <a:spcPct val="0"/>
      </a:spcAft>
      <a:buFont typeface="Arial" panose="020B0604020202020204" pitchFamily="34" charset="0"/>
      <a:buChar char="•"/>
      <a:defRPr sz="1200" kern="1200">
        <a:solidFill>
          <a:schemeClr val="tx1"/>
        </a:solidFill>
        <a:latin typeface="+mn-lt"/>
        <a:ea typeface="+mn-ea"/>
        <a:cs typeface="+mn-cs"/>
      </a:defRPr>
    </a:lvl4pPr>
    <a:lvl5pPr marL="539750" indent="-179388" algn="l" rtl="0" eaLnBrk="0" fontAlgn="base" hangingPunct="0">
      <a:spcBef>
        <a:spcPts val="300"/>
      </a:spcBef>
      <a:spcAft>
        <a:spcPct val="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Zástupný objekt pre obrázok snímky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Zástupný objekt pre poznámky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buFont typeface="Arial" panose="020B0604020202020204" pitchFamily="34" charset="0"/>
              <a:buNone/>
            </a:pPr>
            <a:r>
              <a:rPr lang="sk-SK" altLang="sk-SK" dirty="0"/>
              <a:t>VSD je prevádzkovateľom distribučnej sústavy na vymedzenom území Košického, Prešovského </a:t>
            </a:r>
            <a:br>
              <a:rPr lang="sk-SK" altLang="sk-SK" dirty="0"/>
            </a:br>
            <a:r>
              <a:rPr lang="sk-SK" altLang="sk-SK" dirty="0"/>
              <a:t>a časti Banskobystrického kraja.  Na rozlohe 16-tisíc km</a:t>
            </a:r>
            <a:r>
              <a:rPr lang="sk-SK" altLang="sk-SK" baseline="30000" dirty="0"/>
              <a:t>2</a:t>
            </a:r>
            <a:r>
              <a:rPr lang="sk-SK" altLang="sk-SK" dirty="0"/>
              <a:t> prevádzkuje 56 elektrických, transformačných a spínacích staníc, takmer 23-tisíc km vedení na napäťových úrovniach od VVN až po NN hladiny a takmer 6-tisíc transformačných staníc 22/04 kV.</a:t>
            </a:r>
          </a:p>
          <a:p>
            <a:pPr marL="0" indent="0">
              <a:buFont typeface="Arial" panose="020B0604020202020204" pitchFamily="34" charset="0"/>
              <a:buNone/>
            </a:pPr>
            <a:endParaRPr lang="sk-SK" altLang="sk-SK" sz="1400" dirty="0"/>
          </a:p>
          <a:p>
            <a:pPr marL="0" indent="0">
              <a:buFont typeface="Arial" panose="020B0604020202020204" pitchFamily="34" charset="0"/>
              <a:buNone/>
            </a:pPr>
            <a:r>
              <a:rPr lang="sk-SK" altLang="sk-SK" sz="1400" b="1" dirty="0"/>
              <a:t>Odbor Inšpekcia sieťových pripojení</a:t>
            </a:r>
          </a:p>
          <a:p>
            <a:pPr marL="0" indent="0">
              <a:buNone/>
            </a:pPr>
            <a:r>
              <a:rPr lang="sk-SK" dirty="0"/>
              <a:t>Hlavnou úlohou odboru je analyzovať straty </a:t>
            </a:r>
            <a:br>
              <a:rPr lang="sk-SK" dirty="0"/>
            </a:br>
            <a:r>
              <a:rPr lang="sk-SK" dirty="0"/>
              <a:t>pri distribúcií elektriny v distribučnej sústave, odhaľovať neoprávnené odbery elektriny, navrhovať opatrenia na elimináciu strát a iniciovať a realizovať projekty na znižovanie strát. </a:t>
            </a:r>
          </a:p>
          <a:p>
            <a:pPr eaLnBrk="1" hangingPunct="1"/>
            <a:endParaRPr lang="sk-SK" altLang="sk-SK" dirty="0"/>
          </a:p>
        </p:txBody>
      </p:sp>
      <p:sp>
        <p:nvSpPr>
          <p:cNvPr id="4" name="Zástupný objekt pre dátum 3"/>
          <p:cNvSpPr>
            <a:spLocks noGrp="1"/>
          </p:cNvSpPr>
          <p:nvPr>
            <p:ph type="dt" sz="quarter" idx="1"/>
          </p:nvPr>
        </p:nvSpPr>
        <p:spPr/>
        <p:txBody>
          <a:bodyPr/>
          <a:lstStyle/>
          <a:p>
            <a:pPr>
              <a:defRPr/>
            </a:pPr>
            <a:fld id="{0C328720-B3D8-4860-AE3D-4D555A2678BC}" type="datetime1">
              <a:rPr lang="en-GB"/>
              <a:pPr>
                <a:defRPr/>
              </a:pPr>
              <a:t>22/01/2019</a:t>
            </a:fld>
            <a:endParaRPr lang="en-GB"/>
          </a:p>
        </p:txBody>
      </p:sp>
      <p:sp>
        <p:nvSpPr>
          <p:cNvPr id="5" name="Zástupný objekt pre číslo snímky 4"/>
          <p:cNvSpPr>
            <a:spLocks noGrp="1"/>
          </p:cNvSpPr>
          <p:nvPr>
            <p:ph type="sldNum" sz="quarter" idx="5"/>
          </p:nvPr>
        </p:nvSpPr>
        <p:spPr/>
        <p:txBody>
          <a:bodyPr/>
          <a:lstStyle/>
          <a:p>
            <a:pPr>
              <a:defRPr/>
            </a:pPr>
            <a:r>
              <a:rPr lang="en-GB"/>
              <a:t>  </a:t>
            </a:r>
            <a:fld id="{2A7391F5-EC8C-44C3-BB49-DDD583164B6D}" type="slidenum">
              <a:rPr lang="en-GB" smtClean="0"/>
              <a:pPr>
                <a:defRPr/>
              </a:pPr>
              <a:t>1</a:t>
            </a:fld>
            <a:endParaRPr lang="en-GB"/>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obrázok snímky 1"/>
          <p:cNvSpPr>
            <a:spLocks noGrp="1" noRot="1" noChangeAspect="1"/>
          </p:cNvSpPr>
          <p:nvPr>
            <p:ph type="sldImg"/>
          </p:nvPr>
        </p:nvSpPr>
        <p:spPr/>
      </p:sp>
      <p:sp>
        <p:nvSpPr>
          <p:cNvPr id="3" name="Zástupný objekt pre poznámky 2"/>
          <p:cNvSpPr>
            <a:spLocks noGrp="1"/>
          </p:cNvSpPr>
          <p:nvPr>
            <p:ph type="body" idx="1"/>
          </p:nvPr>
        </p:nvSpPr>
        <p:spPr/>
        <p:txBody>
          <a:bodyPr/>
          <a:lstStyle/>
          <a:p>
            <a:endParaRPr lang="sk-SK" dirty="0"/>
          </a:p>
        </p:txBody>
      </p:sp>
      <p:sp>
        <p:nvSpPr>
          <p:cNvPr id="4" name="Zástupný objekt pre dátum 3"/>
          <p:cNvSpPr>
            <a:spLocks noGrp="1"/>
          </p:cNvSpPr>
          <p:nvPr>
            <p:ph type="dt" idx="10"/>
          </p:nvPr>
        </p:nvSpPr>
        <p:spPr/>
        <p:txBody>
          <a:bodyPr/>
          <a:lstStyle/>
          <a:p>
            <a:pPr>
              <a:defRPr/>
            </a:pPr>
            <a:fld id="{0F50A922-8D61-4329-9DB6-21C885047E42}" type="datetime1">
              <a:rPr lang="en-GB" smtClean="0"/>
              <a:pPr>
                <a:defRPr/>
              </a:pPr>
              <a:t>22/01/2019</a:t>
            </a:fld>
            <a:endParaRPr lang="en-GB"/>
          </a:p>
        </p:txBody>
      </p:sp>
      <p:sp>
        <p:nvSpPr>
          <p:cNvPr id="5" name="Zástupný objekt pre číslo snímky 4"/>
          <p:cNvSpPr>
            <a:spLocks noGrp="1"/>
          </p:cNvSpPr>
          <p:nvPr>
            <p:ph type="sldNum" sz="quarter" idx="11"/>
          </p:nvPr>
        </p:nvSpPr>
        <p:spPr/>
        <p:txBody>
          <a:bodyPr/>
          <a:lstStyle/>
          <a:p>
            <a:pPr>
              <a:defRPr/>
            </a:pPr>
            <a:r>
              <a:rPr lang="en-GB"/>
              <a:t>  </a:t>
            </a:r>
            <a:fld id="{9C9313D2-0958-45E7-88FA-3F007C39936D}" type="slidenum">
              <a:rPr lang="en-GB" smtClean="0"/>
              <a:pPr>
                <a:defRPr/>
              </a:pPr>
              <a:t>2</a:t>
            </a:fld>
            <a:endParaRPr lang="en-GB"/>
          </a:p>
        </p:txBody>
      </p:sp>
    </p:spTree>
    <p:extLst>
      <p:ext uri="{BB962C8B-B14F-4D97-AF65-F5344CB8AC3E}">
        <p14:creationId xmlns:p14="http://schemas.microsoft.com/office/powerpoint/2010/main" val="8287957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obrázok snímky 1"/>
          <p:cNvSpPr>
            <a:spLocks noGrp="1" noRot="1" noChangeAspect="1"/>
          </p:cNvSpPr>
          <p:nvPr>
            <p:ph type="sldImg"/>
          </p:nvPr>
        </p:nvSpPr>
        <p:spPr/>
      </p:sp>
      <p:sp>
        <p:nvSpPr>
          <p:cNvPr id="3" name="Zástupný objekt pre poznámky 2"/>
          <p:cNvSpPr>
            <a:spLocks noGrp="1"/>
          </p:cNvSpPr>
          <p:nvPr>
            <p:ph type="body" idx="1"/>
          </p:nvPr>
        </p:nvSpPr>
        <p:spPr/>
        <p:txBody>
          <a:bodyPr/>
          <a:lstStyle/>
          <a:p>
            <a:pPr>
              <a:buFont typeface="Arial" panose="020B0604020202020204" pitchFamily="34" charset="0"/>
              <a:buNone/>
            </a:pPr>
            <a:r>
              <a:rPr lang="sk-SK" altLang="sk-SK" sz="800" dirty="0"/>
              <a:t>Vlastník nehnuteľnosti je povinný</a:t>
            </a:r>
          </a:p>
          <a:p>
            <a:pPr>
              <a:buFont typeface="Wingdings" panose="05000000000000000000" pitchFamily="2" charset="2"/>
              <a:buChar char="Ø"/>
            </a:pPr>
            <a:r>
              <a:rPr lang="sk-SK" altLang="sk-SK" sz="800" dirty="0"/>
              <a:t>umožniť dodávku elektriny odberateľovi elektriny </a:t>
            </a:r>
            <a:br>
              <a:rPr lang="sk-SK" altLang="sk-SK" sz="800" dirty="0"/>
            </a:br>
            <a:r>
              <a:rPr lang="sk-SK" altLang="sk-SK" sz="800" dirty="0"/>
              <a:t>v domácnosti, </a:t>
            </a:r>
          </a:p>
          <a:p>
            <a:pPr>
              <a:buFont typeface="Wingdings" panose="05000000000000000000" pitchFamily="2" charset="2"/>
              <a:buChar char="Ø"/>
            </a:pPr>
            <a:r>
              <a:rPr lang="sk-SK" altLang="sk-SK" sz="800" dirty="0"/>
              <a:t> udržiavať odberné elektrické zariadenie </a:t>
            </a:r>
            <a:br>
              <a:rPr lang="sk-SK" altLang="sk-SK" sz="800" dirty="0"/>
            </a:br>
            <a:r>
              <a:rPr lang="sk-SK" altLang="sk-SK" sz="800" dirty="0"/>
              <a:t>v zodpovedajúcom technickom stave</a:t>
            </a:r>
          </a:p>
          <a:p>
            <a:pPr>
              <a:buFont typeface="Arial" panose="020B0604020202020204" pitchFamily="34" charset="0"/>
              <a:buNone/>
            </a:pPr>
            <a:endParaRPr lang="sk-SK" altLang="sk-SK" sz="800" dirty="0"/>
          </a:p>
          <a:p>
            <a:pPr>
              <a:buFont typeface="Arial" panose="020B0604020202020204" pitchFamily="34" charset="0"/>
              <a:buNone/>
            </a:pPr>
            <a:r>
              <a:rPr lang="sk-SK" altLang="sk-SK" sz="800" dirty="0"/>
              <a:t>Prevádzkovateľ  je povinný zabezpečiť spoľahlivé, bezpečné a účinné prevádzkovanie sústavy za hospodárnych podmienok</a:t>
            </a:r>
          </a:p>
          <a:p>
            <a:pPr>
              <a:buFont typeface="Arial" panose="020B0604020202020204" pitchFamily="34" charset="0"/>
              <a:buNone/>
            </a:pPr>
            <a:endParaRPr lang="sk-SK" altLang="sk-SK" sz="800" dirty="0"/>
          </a:p>
          <a:p>
            <a:pPr>
              <a:buFont typeface="Arial" panose="020B0604020202020204" pitchFamily="34" charset="0"/>
              <a:buNone/>
            </a:pPr>
            <a:r>
              <a:rPr lang="sk-SK" altLang="sk-SK" sz="800" dirty="0"/>
              <a:t>Prevádzkovateľ má právo prerušiť distribúciu pri</a:t>
            </a:r>
          </a:p>
          <a:p>
            <a:pPr>
              <a:buFont typeface="Wingdings" panose="05000000000000000000" pitchFamily="2" charset="2"/>
              <a:buChar char="Ø"/>
            </a:pPr>
            <a:r>
              <a:rPr lang="sk-SK" altLang="sk-SK" sz="800" dirty="0"/>
              <a:t>bezprostrednom ohrození života, zdravia, majetku</a:t>
            </a:r>
          </a:p>
          <a:p>
            <a:pPr>
              <a:buFont typeface="Wingdings" panose="05000000000000000000" pitchFamily="2" charset="2"/>
              <a:buChar char="Ø"/>
            </a:pPr>
            <a:r>
              <a:rPr lang="sk-SK" altLang="sk-SK" sz="800" dirty="0"/>
              <a:t>odbere elektriny zariadeniami, ktoré ohrozujú život, zdravie alebo majetok osôb,  alebo ovplyvňujú kvalitu </a:t>
            </a:r>
            <a:br>
              <a:rPr lang="sk-SK" altLang="sk-SK" sz="800" dirty="0"/>
            </a:br>
            <a:r>
              <a:rPr lang="sk-SK" altLang="sk-SK" sz="800" dirty="0"/>
              <a:t>a spoľahlivosť dodávky elektriny, </a:t>
            </a:r>
          </a:p>
          <a:p>
            <a:pPr>
              <a:buFont typeface="Wingdings" panose="05000000000000000000" pitchFamily="2" charset="2"/>
              <a:buChar char="Ø"/>
            </a:pPr>
            <a:r>
              <a:rPr lang="sk-SK" altLang="sk-SK" sz="800" dirty="0"/>
              <a:t>neoprávnenom odbere elektriny </a:t>
            </a:r>
          </a:p>
          <a:p>
            <a:pPr defTabSz="629747">
              <a:spcBef>
                <a:spcPts val="826"/>
              </a:spcBef>
              <a:buFont typeface="Wingdings" panose="05000000000000000000" pitchFamily="2" charset="2"/>
              <a:buChar char="Ø"/>
              <a:defRPr/>
            </a:pPr>
            <a:r>
              <a:rPr lang="sk-SK" sz="800" dirty="0"/>
              <a:t>Prevádzkovateľ je oprávnený vyžiadať  </a:t>
            </a:r>
            <a:br>
              <a:rPr lang="sk-SK" sz="800" dirty="0"/>
            </a:br>
            <a:r>
              <a:rPr lang="sk-SK" sz="800" dirty="0"/>
              <a:t>pred obnovením distribúcie rekonštrukciu elektrickej prípojky vrátane umiestnenia určeného meradla na verejne prístupnom </a:t>
            </a:r>
            <a:br>
              <a:rPr lang="sk-SK" sz="800" dirty="0"/>
            </a:br>
            <a:r>
              <a:rPr lang="sk-SK" sz="800" dirty="0"/>
              <a:t>a kontrolovateľnom mieste, </a:t>
            </a:r>
            <a:br>
              <a:rPr lang="sk-SK" sz="800" dirty="0"/>
            </a:br>
            <a:r>
              <a:rPr lang="sk-SK" sz="800" dirty="0"/>
              <a:t>aby zabránil krádežiam elektriny.</a:t>
            </a:r>
          </a:p>
          <a:p>
            <a:pPr>
              <a:buFont typeface="Wingdings" panose="05000000000000000000" pitchFamily="2" charset="2"/>
              <a:buNone/>
            </a:pPr>
            <a:endParaRPr lang="sk-SK" altLang="sk-SK" sz="800" dirty="0"/>
          </a:p>
          <a:p>
            <a:endParaRPr lang="sk-SK" dirty="0"/>
          </a:p>
        </p:txBody>
      </p:sp>
      <p:sp>
        <p:nvSpPr>
          <p:cNvPr id="4" name="Zástupný objekt pre dátum 3"/>
          <p:cNvSpPr>
            <a:spLocks noGrp="1"/>
          </p:cNvSpPr>
          <p:nvPr>
            <p:ph type="dt" idx="10"/>
          </p:nvPr>
        </p:nvSpPr>
        <p:spPr/>
        <p:txBody>
          <a:bodyPr/>
          <a:lstStyle/>
          <a:p>
            <a:pPr>
              <a:defRPr/>
            </a:pPr>
            <a:fld id="{0F50A922-8D61-4329-9DB6-21C885047E42}" type="datetime1">
              <a:rPr lang="en-GB" smtClean="0"/>
              <a:pPr>
                <a:defRPr/>
              </a:pPr>
              <a:t>22/01/2019</a:t>
            </a:fld>
            <a:endParaRPr lang="en-GB"/>
          </a:p>
        </p:txBody>
      </p:sp>
      <p:sp>
        <p:nvSpPr>
          <p:cNvPr id="5" name="Zástupný objekt pre číslo snímky 4"/>
          <p:cNvSpPr>
            <a:spLocks noGrp="1"/>
          </p:cNvSpPr>
          <p:nvPr>
            <p:ph type="sldNum" sz="quarter" idx="11"/>
          </p:nvPr>
        </p:nvSpPr>
        <p:spPr/>
        <p:txBody>
          <a:bodyPr/>
          <a:lstStyle/>
          <a:p>
            <a:pPr>
              <a:defRPr/>
            </a:pPr>
            <a:r>
              <a:rPr lang="en-GB"/>
              <a:t>  </a:t>
            </a:r>
            <a:fld id="{9C9313D2-0958-45E7-88FA-3F007C39936D}" type="slidenum">
              <a:rPr lang="en-GB" smtClean="0"/>
              <a:pPr>
                <a:defRPr/>
              </a:pPr>
              <a:t>3</a:t>
            </a:fld>
            <a:endParaRPr lang="en-GB"/>
          </a:p>
        </p:txBody>
      </p:sp>
    </p:spTree>
    <p:extLst>
      <p:ext uri="{BB962C8B-B14F-4D97-AF65-F5344CB8AC3E}">
        <p14:creationId xmlns:p14="http://schemas.microsoft.com/office/powerpoint/2010/main" val="11317676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obrázok snímky 1"/>
          <p:cNvSpPr>
            <a:spLocks noGrp="1" noRot="1" noChangeAspect="1"/>
          </p:cNvSpPr>
          <p:nvPr>
            <p:ph type="sldImg"/>
          </p:nvPr>
        </p:nvSpPr>
        <p:spPr/>
      </p:sp>
      <p:sp>
        <p:nvSpPr>
          <p:cNvPr id="3" name="Zástupný objekt pre poznámky 2"/>
          <p:cNvSpPr>
            <a:spLocks noGrp="1"/>
          </p:cNvSpPr>
          <p:nvPr>
            <p:ph type="body" idx="1"/>
          </p:nvPr>
        </p:nvSpPr>
        <p:spPr/>
        <p:txBody>
          <a:bodyPr/>
          <a:lstStyle/>
          <a:p>
            <a:pPr marL="0" marR="0" lvl="0" indent="0" algn="l" defTabSz="914400" rtl="0" eaLnBrk="0" fontAlgn="base" latinLnBrk="0" hangingPunct="0">
              <a:lnSpc>
                <a:spcPct val="100000"/>
              </a:lnSpc>
              <a:spcBef>
                <a:spcPts val="1200"/>
              </a:spcBef>
              <a:spcAft>
                <a:spcPct val="0"/>
              </a:spcAft>
              <a:buClrTx/>
              <a:buSzTx/>
              <a:buFontTx/>
              <a:buNone/>
              <a:tabLst/>
              <a:defRPr/>
            </a:pPr>
            <a:r>
              <a:rPr lang="sk-SK" sz="1200" dirty="0"/>
              <a:t>všetky časti inštalácie sú už merané, preto nie je možnosť pripájať sa na nemerané časti a nedochádza k devastovaniu sietí. </a:t>
            </a:r>
          </a:p>
          <a:p>
            <a:endParaRPr lang="sk-SK" dirty="0"/>
          </a:p>
        </p:txBody>
      </p:sp>
      <p:sp>
        <p:nvSpPr>
          <p:cNvPr id="4" name="Zástupný objekt pre dátum 3"/>
          <p:cNvSpPr>
            <a:spLocks noGrp="1"/>
          </p:cNvSpPr>
          <p:nvPr>
            <p:ph type="dt" idx="10"/>
          </p:nvPr>
        </p:nvSpPr>
        <p:spPr/>
        <p:txBody>
          <a:bodyPr/>
          <a:lstStyle/>
          <a:p>
            <a:pPr>
              <a:defRPr/>
            </a:pPr>
            <a:fld id="{0F50A922-8D61-4329-9DB6-21C885047E42}" type="datetime1">
              <a:rPr lang="en-GB" smtClean="0"/>
              <a:pPr>
                <a:defRPr/>
              </a:pPr>
              <a:t>22/01/2019</a:t>
            </a:fld>
            <a:endParaRPr lang="en-GB"/>
          </a:p>
        </p:txBody>
      </p:sp>
      <p:sp>
        <p:nvSpPr>
          <p:cNvPr id="5" name="Zástupný objekt pre číslo snímky 4"/>
          <p:cNvSpPr>
            <a:spLocks noGrp="1"/>
          </p:cNvSpPr>
          <p:nvPr>
            <p:ph type="sldNum" sz="quarter" idx="11"/>
          </p:nvPr>
        </p:nvSpPr>
        <p:spPr/>
        <p:txBody>
          <a:bodyPr/>
          <a:lstStyle/>
          <a:p>
            <a:pPr>
              <a:defRPr/>
            </a:pPr>
            <a:r>
              <a:rPr lang="en-GB"/>
              <a:t>  </a:t>
            </a:r>
            <a:fld id="{9C9313D2-0958-45E7-88FA-3F007C39936D}" type="slidenum">
              <a:rPr lang="en-GB" smtClean="0"/>
              <a:pPr>
                <a:defRPr/>
              </a:pPr>
              <a:t>4</a:t>
            </a:fld>
            <a:endParaRPr lang="en-GB"/>
          </a:p>
        </p:txBody>
      </p:sp>
    </p:spTree>
    <p:extLst>
      <p:ext uri="{BB962C8B-B14F-4D97-AF65-F5344CB8AC3E}">
        <p14:creationId xmlns:p14="http://schemas.microsoft.com/office/powerpoint/2010/main" val="27640036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obrázok snímky 1"/>
          <p:cNvSpPr>
            <a:spLocks noGrp="1" noRot="1" noChangeAspect="1"/>
          </p:cNvSpPr>
          <p:nvPr>
            <p:ph type="sldImg"/>
          </p:nvPr>
        </p:nvSpPr>
        <p:spPr/>
      </p:sp>
      <p:sp>
        <p:nvSpPr>
          <p:cNvPr id="3" name="Zástupný objekt pre poznámky 2"/>
          <p:cNvSpPr>
            <a:spLocks noGrp="1"/>
          </p:cNvSpPr>
          <p:nvPr>
            <p:ph type="body" idx="1"/>
          </p:nvPr>
        </p:nvSpPr>
        <p:spPr/>
        <p:txBody>
          <a:bodyPr/>
          <a:lstStyle/>
          <a:p>
            <a:r>
              <a:rPr lang="sk-SK" sz="800" b="0" dirty="0"/>
              <a:t>Ak je na odbernom mieste odberateľom územný samosprávny subjekt obec (ďalej len „obec“) a prostredníctvom tohto odberného</a:t>
            </a:r>
          </a:p>
          <a:p>
            <a:r>
              <a:rPr lang="sk-SK" sz="800" b="0" dirty="0"/>
              <a:t>miesta sa uskutočňuje distribúcia elektriny výlučne pre zabezpečenie fyzickej dodávky elektriny pre byty a nebytové priestory domácností</a:t>
            </a:r>
          </a:p>
          <a:p>
            <a:r>
              <a:rPr lang="sk-SK" sz="800" b="0" dirty="0"/>
              <a:t>(napr. sociálne byty) (ďalej len „obecné byty“), ktorých je výlučným </a:t>
            </a:r>
            <a:r>
              <a:rPr lang="pl-PL" sz="800" b="0" dirty="0"/>
              <a:t>vlastníkom obec, považuje sa takéto odberné miesto za odberné</a:t>
            </a:r>
          </a:p>
          <a:p>
            <a:r>
              <a:rPr lang="sk-SK" sz="800" b="0" dirty="0"/>
              <a:t>miesto jedného odberateľa elektriny v domácnosti (ďalej len „odberné miesto pre obecné byty“).</a:t>
            </a:r>
            <a:endParaRPr lang="sk-SK" dirty="0"/>
          </a:p>
        </p:txBody>
      </p:sp>
      <p:sp>
        <p:nvSpPr>
          <p:cNvPr id="4" name="Zástupný objekt pre dátum 3"/>
          <p:cNvSpPr>
            <a:spLocks noGrp="1"/>
          </p:cNvSpPr>
          <p:nvPr>
            <p:ph type="dt" idx="10"/>
          </p:nvPr>
        </p:nvSpPr>
        <p:spPr/>
        <p:txBody>
          <a:bodyPr/>
          <a:lstStyle/>
          <a:p>
            <a:pPr>
              <a:defRPr/>
            </a:pPr>
            <a:fld id="{0F50A922-8D61-4329-9DB6-21C885047E42}" type="datetime1">
              <a:rPr lang="en-GB" smtClean="0"/>
              <a:pPr>
                <a:defRPr/>
              </a:pPr>
              <a:t>22/01/2019</a:t>
            </a:fld>
            <a:endParaRPr lang="en-GB"/>
          </a:p>
        </p:txBody>
      </p:sp>
      <p:sp>
        <p:nvSpPr>
          <p:cNvPr id="5" name="Zástupný objekt pre číslo snímky 4"/>
          <p:cNvSpPr>
            <a:spLocks noGrp="1"/>
          </p:cNvSpPr>
          <p:nvPr>
            <p:ph type="sldNum" sz="quarter" idx="11"/>
          </p:nvPr>
        </p:nvSpPr>
        <p:spPr/>
        <p:txBody>
          <a:bodyPr/>
          <a:lstStyle/>
          <a:p>
            <a:pPr>
              <a:defRPr/>
            </a:pPr>
            <a:r>
              <a:rPr lang="en-GB"/>
              <a:t>  </a:t>
            </a:r>
            <a:fld id="{9C9313D2-0958-45E7-88FA-3F007C39936D}" type="slidenum">
              <a:rPr lang="en-GB" smtClean="0"/>
              <a:pPr>
                <a:defRPr/>
              </a:pPr>
              <a:t>5</a:t>
            </a:fld>
            <a:endParaRPr lang="en-GB"/>
          </a:p>
        </p:txBody>
      </p:sp>
    </p:spTree>
    <p:extLst>
      <p:ext uri="{BB962C8B-B14F-4D97-AF65-F5344CB8AC3E}">
        <p14:creationId xmlns:p14="http://schemas.microsoft.com/office/powerpoint/2010/main" val="26070916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obrázok snímky 1"/>
          <p:cNvSpPr>
            <a:spLocks noGrp="1" noRot="1" noChangeAspect="1"/>
          </p:cNvSpPr>
          <p:nvPr>
            <p:ph type="sldImg"/>
          </p:nvPr>
        </p:nvSpPr>
        <p:spPr/>
      </p:sp>
      <p:sp>
        <p:nvSpPr>
          <p:cNvPr id="3" name="Zástupný objekt pre poznámky 2"/>
          <p:cNvSpPr>
            <a:spLocks noGrp="1"/>
          </p:cNvSpPr>
          <p:nvPr>
            <p:ph type="body" idx="1"/>
          </p:nvPr>
        </p:nvSpPr>
        <p:spPr/>
        <p:txBody>
          <a:bodyPr/>
          <a:lstStyle/>
          <a:p>
            <a:r>
              <a:rPr lang="sk-SK" b="0" dirty="0"/>
              <a:t>Technické podmienky</a:t>
            </a:r>
          </a:p>
          <a:p>
            <a:r>
              <a:rPr lang="sk-SK" b="0" dirty="0"/>
              <a:t>Distribučné podmienky</a:t>
            </a:r>
          </a:p>
          <a:p>
            <a:r>
              <a:rPr lang="sk-SK" b="0" dirty="0"/>
              <a:t>Smart riešenie</a:t>
            </a:r>
          </a:p>
          <a:p>
            <a:r>
              <a:rPr lang="sk-SK" b="0" dirty="0"/>
              <a:t>IT aplikácia</a:t>
            </a:r>
          </a:p>
          <a:p>
            <a:pPr lvl="1" defTabSz="628967">
              <a:lnSpc>
                <a:spcPct val="130000"/>
              </a:lnSpc>
              <a:buClr>
                <a:srgbClr val="0050A6"/>
              </a:buClr>
              <a:buSzPts val="1100"/>
              <a:defRPr/>
            </a:pPr>
            <a:r>
              <a:rPr lang="sk-SK" kern="0" dirty="0">
                <a:solidFill>
                  <a:schemeClr val="bg1"/>
                </a:solidFill>
              </a:rPr>
              <a:t>Projekt ponúka samospráve systém merania a dodávky elektriny využívaním </a:t>
            </a:r>
            <a:r>
              <a:rPr lang="sk-SK" b="1" dirty="0">
                <a:solidFill>
                  <a:schemeClr val="bg1"/>
                </a:solidFill>
              </a:rPr>
              <a:t>nových technológii ako sú IMS  elektromery s odpojovačom, GSM/GPRS komunikáciu a PLC komunikáciou </a:t>
            </a:r>
            <a:r>
              <a:rPr lang="sk-SK" dirty="0">
                <a:solidFill>
                  <a:schemeClr val="bg1"/>
                </a:solidFill>
              </a:rPr>
              <a:t>(p</a:t>
            </a:r>
            <a:r>
              <a:rPr lang="pl-PL" dirty="0">
                <a:solidFill>
                  <a:schemeClr val="bg1"/>
                </a:solidFill>
              </a:rPr>
              <a:t>renos údajov </a:t>
            </a:r>
            <a:r>
              <a:rPr lang="sk-SK" dirty="0">
                <a:solidFill>
                  <a:schemeClr val="bg1"/>
                </a:solidFill>
              </a:rPr>
              <a:t>prostredníctvom silových kábloch elektrických sietí). </a:t>
            </a:r>
          </a:p>
          <a:p>
            <a:pPr lvl="1" defTabSz="628967">
              <a:lnSpc>
                <a:spcPct val="130000"/>
              </a:lnSpc>
              <a:buClr>
                <a:srgbClr val="0050A6"/>
              </a:buClr>
              <a:buSzPts val="1100"/>
              <a:defRPr/>
            </a:pPr>
            <a:r>
              <a:rPr lang="sk-SK" b="1" kern="0" dirty="0">
                <a:solidFill>
                  <a:schemeClr val="bg1"/>
                </a:solidFill>
              </a:rPr>
              <a:t>Poskytuje samospráve nástroj na výchovu nájomníkov </a:t>
            </a:r>
            <a:r>
              <a:rPr lang="sk-SK" kern="0" dirty="0">
                <a:solidFill>
                  <a:schemeClr val="bg1"/>
                </a:solidFill>
              </a:rPr>
              <a:t>a na zlepšenie platobnej disciplíny aj za iné služby spojené s nájmom bytov.  </a:t>
            </a:r>
            <a:br>
              <a:rPr lang="sk-SK" kern="0" dirty="0">
                <a:solidFill>
                  <a:schemeClr val="bg1"/>
                </a:solidFill>
              </a:rPr>
            </a:br>
            <a:r>
              <a:rPr lang="sk-SK" b="1" kern="0" dirty="0">
                <a:solidFill>
                  <a:schemeClr val="bg1"/>
                </a:solidFill>
              </a:rPr>
              <a:t>Samospráva musí prevziať zodpovednosť za svojich nájomníkov. </a:t>
            </a:r>
          </a:p>
          <a:p>
            <a:endParaRPr lang="sk-SK" b="0" dirty="0"/>
          </a:p>
        </p:txBody>
      </p:sp>
      <p:sp>
        <p:nvSpPr>
          <p:cNvPr id="4" name="Zástupný objekt pre dátum 3"/>
          <p:cNvSpPr>
            <a:spLocks noGrp="1"/>
          </p:cNvSpPr>
          <p:nvPr>
            <p:ph type="dt" idx="10"/>
          </p:nvPr>
        </p:nvSpPr>
        <p:spPr/>
        <p:txBody>
          <a:bodyPr/>
          <a:lstStyle/>
          <a:p>
            <a:pPr>
              <a:defRPr/>
            </a:pPr>
            <a:fld id="{0F50A922-8D61-4329-9DB6-21C885047E42}" type="datetime1">
              <a:rPr lang="en-GB" smtClean="0"/>
              <a:pPr>
                <a:defRPr/>
              </a:pPr>
              <a:t>22/01/2019</a:t>
            </a:fld>
            <a:endParaRPr lang="en-GB"/>
          </a:p>
        </p:txBody>
      </p:sp>
      <p:sp>
        <p:nvSpPr>
          <p:cNvPr id="5" name="Zástupný objekt pre číslo snímky 4"/>
          <p:cNvSpPr>
            <a:spLocks noGrp="1"/>
          </p:cNvSpPr>
          <p:nvPr>
            <p:ph type="sldNum" sz="quarter" idx="11"/>
          </p:nvPr>
        </p:nvSpPr>
        <p:spPr/>
        <p:txBody>
          <a:bodyPr/>
          <a:lstStyle/>
          <a:p>
            <a:pPr>
              <a:defRPr/>
            </a:pPr>
            <a:r>
              <a:rPr lang="en-GB"/>
              <a:t>  </a:t>
            </a:r>
            <a:fld id="{9C9313D2-0958-45E7-88FA-3F007C39936D}" type="slidenum">
              <a:rPr lang="en-GB" smtClean="0"/>
              <a:pPr>
                <a:defRPr/>
              </a:pPr>
              <a:t>6</a:t>
            </a:fld>
            <a:endParaRPr lang="en-GB"/>
          </a:p>
        </p:txBody>
      </p:sp>
    </p:spTree>
    <p:extLst>
      <p:ext uri="{BB962C8B-B14F-4D97-AF65-F5344CB8AC3E}">
        <p14:creationId xmlns:p14="http://schemas.microsoft.com/office/powerpoint/2010/main" val="30260174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obrázok snímky 1"/>
          <p:cNvSpPr>
            <a:spLocks noGrp="1" noRot="1" noChangeAspect="1"/>
          </p:cNvSpPr>
          <p:nvPr>
            <p:ph type="sldImg"/>
          </p:nvPr>
        </p:nvSpPr>
        <p:spPr/>
      </p:sp>
      <p:sp>
        <p:nvSpPr>
          <p:cNvPr id="3" name="Zástupný objekt pre poznámky 2"/>
          <p:cNvSpPr>
            <a:spLocks noGrp="1"/>
          </p:cNvSpPr>
          <p:nvPr>
            <p:ph type="body" idx="1"/>
          </p:nvPr>
        </p:nvSpPr>
        <p:spPr/>
        <p:txBody>
          <a:bodyPr/>
          <a:lstStyle/>
          <a:p>
            <a:endParaRPr lang="sk-SK"/>
          </a:p>
        </p:txBody>
      </p:sp>
      <p:sp>
        <p:nvSpPr>
          <p:cNvPr id="4" name="Zástupný objekt pre dátum 3"/>
          <p:cNvSpPr>
            <a:spLocks noGrp="1"/>
          </p:cNvSpPr>
          <p:nvPr>
            <p:ph type="dt" idx="10"/>
          </p:nvPr>
        </p:nvSpPr>
        <p:spPr/>
        <p:txBody>
          <a:bodyPr/>
          <a:lstStyle/>
          <a:p>
            <a:pPr>
              <a:defRPr/>
            </a:pPr>
            <a:fld id="{0F50A922-8D61-4329-9DB6-21C885047E42}" type="datetime1">
              <a:rPr lang="en-GB" smtClean="0"/>
              <a:pPr>
                <a:defRPr/>
              </a:pPr>
              <a:t>22/01/2019</a:t>
            </a:fld>
            <a:endParaRPr lang="en-GB"/>
          </a:p>
        </p:txBody>
      </p:sp>
      <p:sp>
        <p:nvSpPr>
          <p:cNvPr id="5" name="Zástupný objekt pre číslo snímky 4"/>
          <p:cNvSpPr>
            <a:spLocks noGrp="1"/>
          </p:cNvSpPr>
          <p:nvPr>
            <p:ph type="sldNum" sz="quarter" idx="11"/>
          </p:nvPr>
        </p:nvSpPr>
        <p:spPr/>
        <p:txBody>
          <a:bodyPr/>
          <a:lstStyle/>
          <a:p>
            <a:pPr>
              <a:defRPr/>
            </a:pPr>
            <a:r>
              <a:rPr lang="en-GB"/>
              <a:t>  </a:t>
            </a:r>
            <a:fld id="{9C9313D2-0958-45E7-88FA-3F007C39936D}" type="slidenum">
              <a:rPr lang="en-GB" smtClean="0"/>
              <a:pPr>
                <a:defRPr/>
              </a:pPr>
              <a:t>7</a:t>
            </a:fld>
            <a:endParaRPr lang="en-GB"/>
          </a:p>
        </p:txBody>
      </p:sp>
    </p:spTree>
    <p:extLst>
      <p:ext uri="{BB962C8B-B14F-4D97-AF65-F5344CB8AC3E}">
        <p14:creationId xmlns:p14="http://schemas.microsoft.com/office/powerpoint/2010/main" val="12509050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obrázok snímky 1"/>
          <p:cNvSpPr>
            <a:spLocks noGrp="1" noRot="1" noChangeAspect="1"/>
          </p:cNvSpPr>
          <p:nvPr>
            <p:ph type="sldImg"/>
          </p:nvPr>
        </p:nvSpPr>
        <p:spPr/>
      </p:sp>
      <p:sp>
        <p:nvSpPr>
          <p:cNvPr id="3" name="Zástupný objekt pre poznámky 2"/>
          <p:cNvSpPr>
            <a:spLocks noGrp="1"/>
          </p:cNvSpPr>
          <p:nvPr>
            <p:ph type="body" idx="1"/>
          </p:nvPr>
        </p:nvSpPr>
        <p:spPr/>
        <p:txBody>
          <a:bodyPr/>
          <a:lstStyle/>
          <a:p>
            <a:r>
              <a:rPr lang="sk-SK" sz="1200" b="1" dirty="0"/>
              <a:t>V Šaci už majú ročné skúsenosti </a:t>
            </a:r>
          </a:p>
          <a:p>
            <a:pPr marL="285750" indent="-285750">
              <a:buFont typeface="Wingdings" panose="05000000000000000000" pitchFamily="2" charset="2"/>
              <a:buChar char="ü"/>
            </a:pPr>
            <a:r>
              <a:rPr lang="sk-SK" sz="1200" dirty="0"/>
              <a:t>Priemerne je vypnutých 5 bytov po dobu max. 2 dní. </a:t>
            </a:r>
          </a:p>
          <a:p>
            <a:pPr marL="285750" indent="-285750">
              <a:buFont typeface="Wingdings" panose="05000000000000000000" pitchFamily="2" charset="2"/>
              <a:buChar char="ü"/>
            </a:pPr>
            <a:r>
              <a:rPr lang="sk-SK" sz="1200" dirty="0"/>
              <a:t>Priemerná doba vypnutia je jeden deň. </a:t>
            </a:r>
          </a:p>
          <a:p>
            <a:pPr marL="285750" indent="-285750">
              <a:buFont typeface="Wingdings" panose="05000000000000000000" pitchFamily="2" charset="2"/>
              <a:buChar char="ü"/>
            </a:pPr>
            <a:r>
              <a:rPr lang="sk-SK" sz="1200" dirty="0"/>
              <a:t>Komunikácia PLC funguje bezproblémovo.</a:t>
            </a:r>
          </a:p>
          <a:p>
            <a:pPr marL="285750" indent="-285750">
              <a:buFont typeface="Wingdings" panose="05000000000000000000" pitchFamily="2" charset="2"/>
              <a:buChar char="ü"/>
            </a:pPr>
            <a:r>
              <a:rPr lang="sk-SK" sz="1200" dirty="0"/>
              <a:t>Zlepšila sa platobná disciplína za nájomné. </a:t>
            </a:r>
          </a:p>
          <a:p>
            <a:pPr marL="285750" indent="-285750">
              <a:buFont typeface="Wingdings" panose="05000000000000000000" pitchFamily="2" charset="2"/>
              <a:buChar char="ü"/>
            </a:pPr>
            <a:r>
              <a:rPr lang="sk-SK" sz="1200" dirty="0"/>
              <a:t>Spotreba sa výrazne zvýšila, dodávateľ elektriny aj VSD majú uhradené všetky platby. </a:t>
            </a:r>
          </a:p>
          <a:p>
            <a:pPr marL="285750" indent="-285750">
              <a:buFont typeface="Wingdings" panose="05000000000000000000" pitchFamily="2" charset="2"/>
              <a:buChar char="ü"/>
            </a:pPr>
            <a:r>
              <a:rPr lang="sk-SK" sz="1200" dirty="0"/>
              <a:t>Priemerná ročná spotreba na jeden byt je 2 500 KWh. </a:t>
            </a:r>
          </a:p>
          <a:p>
            <a:endParaRPr lang="sk-SK" dirty="0"/>
          </a:p>
        </p:txBody>
      </p:sp>
      <p:sp>
        <p:nvSpPr>
          <p:cNvPr id="4" name="Zástupný objekt pre dátum 3"/>
          <p:cNvSpPr>
            <a:spLocks noGrp="1"/>
          </p:cNvSpPr>
          <p:nvPr>
            <p:ph type="dt" idx="10"/>
          </p:nvPr>
        </p:nvSpPr>
        <p:spPr/>
        <p:txBody>
          <a:bodyPr/>
          <a:lstStyle/>
          <a:p>
            <a:pPr>
              <a:defRPr/>
            </a:pPr>
            <a:fld id="{0F50A922-8D61-4329-9DB6-21C885047E42}" type="datetime1">
              <a:rPr lang="en-GB" smtClean="0"/>
              <a:pPr>
                <a:defRPr/>
              </a:pPr>
              <a:t>22/01/2019</a:t>
            </a:fld>
            <a:endParaRPr lang="en-GB"/>
          </a:p>
        </p:txBody>
      </p:sp>
      <p:sp>
        <p:nvSpPr>
          <p:cNvPr id="5" name="Zástupný objekt pre číslo snímky 4"/>
          <p:cNvSpPr>
            <a:spLocks noGrp="1"/>
          </p:cNvSpPr>
          <p:nvPr>
            <p:ph type="sldNum" sz="quarter" idx="11"/>
          </p:nvPr>
        </p:nvSpPr>
        <p:spPr/>
        <p:txBody>
          <a:bodyPr/>
          <a:lstStyle/>
          <a:p>
            <a:pPr>
              <a:defRPr/>
            </a:pPr>
            <a:r>
              <a:rPr lang="en-GB"/>
              <a:t>  </a:t>
            </a:r>
            <a:fld id="{9C9313D2-0958-45E7-88FA-3F007C39936D}" type="slidenum">
              <a:rPr lang="en-GB" smtClean="0"/>
              <a:pPr>
                <a:defRPr/>
              </a:pPr>
              <a:t>8</a:t>
            </a:fld>
            <a:endParaRPr lang="en-GB"/>
          </a:p>
        </p:txBody>
      </p:sp>
    </p:spTree>
    <p:extLst>
      <p:ext uri="{BB962C8B-B14F-4D97-AF65-F5344CB8AC3E}">
        <p14:creationId xmlns:p14="http://schemas.microsoft.com/office/powerpoint/2010/main" val="17364371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obrázok snímky 1"/>
          <p:cNvSpPr>
            <a:spLocks noGrp="1" noRot="1" noChangeAspect="1"/>
          </p:cNvSpPr>
          <p:nvPr>
            <p:ph type="sldImg"/>
          </p:nvPr>
        </p:nvSpPr>
        <p:spPr/>
      </p:sp>
      <p:sp>
        <p:nvSpPr>
          <p:cNvPr id="3" name="Zástupný objekt pre poznámky 2"/>
          <p:cNvSpPr>
            <a:spLocks noGrp="1"/>
          </p:cNvSpPr>
          <p:nvPr>
            <p:ph type="body" idx="1"/>
          </p:nvPr>
        </p:nvSpPr>
        <p:spPr/>
        <p:txBody>
          <a:bodyPr/>
          <a:lstStyle/>
          <a:p>
            <a:endParaRPr lang="sk-SK"/>
          </a:p>
        </p:txBody>
      </p:sp>
      <p:sp>
        <p:nvSpPr>
          <p:cNvPr id="4" name="Zástupný objekt pre dátum 3"/>
          <p:cNvSpPr>
            <a:spLocks noGrp="1"/>
          </p:cNvSpPr>
          <p:nvPr>
            <p:ph type="dt" idx="10"/>
          </p:nvPr>
        </p:nvSpPr>
        <p:spPr/>
        <p:txBody>
          <a:bodyPr/>
          <a:lstStyle/>
          <a:p>
            <a:pPr>
              <a:defRPr/>
            </a:pPr>
            <a:fld id="{0F50A922-8D61-4329-9DB6-21C885047E42}" type="datetime1">
              <a:rPr lang="en-GB" smtClean="0"/>
              <a:pPr>
                <a:defRPr/>
              </a:pPr>
              <a:t>22/01/2019</a:t>
            </a:fld>
            <a:endParaRPr lang="en-GB"/>
          </a:p>
        </p:txBody>
      </p:sp>
      <p:sp>
        <p:nvSpPr>
          <p:cNvPr id="5" name="Zástupný objekt pre číslo snímky 4"/>
          <p:cNvSpPr>
            <a:spLocks noGrp="1"/>
          </p:cNvSpPr>
          <p:nvPr>
            <p:ph type="sldNum" sz="quarter" idx="11"/>
          </p:nvPr>
        </p:nvSpPr>
        <p:spPr/>
        <p:txBody>
          <a:bodyPr/>
          <a:lstStyle/>
          <a:p>
            <a:pPr>
              <a:defRPr/>
            </a:pPr>
            <a:r>
              <a:rPr lang="en-GB"/>
              <a:t>  </a:t>
            </a:r>
            <a:fld id="{9C9313D2-0958-45E7-88FA-3F007C39936D}" type="slidenum">
              <a:rPr lang="en-GB" smtClean="0"/>
              <a:pPr>
                <a:defRPr/>
              </a:pPr>
              <a:t>9</a:t>
            </a:fld>
            <a:endParaRPr lang="en-GB"/>
          </a:p>
        </p:txBody>
      </p:sp>
    </p:spTree>
    <p:extLst>
      <p:ext uri="{BB962C8B-B14F-4D97-AF65-F5344CB8AC3E}">
        <p14:creationId xmlns:p14="http://schemas.microsoft.com/office/powerpoint/2010/main" val="4426576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01">
    <p:spTree>
      <p:nvGrpSpPr>
        <p:cNvPr id="1" name=""/>
        <p:cNvGrpSpPr/>
        <p:nvPr/>
      </p:nvGrpSpPr>
      <p:grpSpPr>
        <a:xfrm>
          <a:off x="0" y="0"/>
          <a:ext cx="0" cy="0"/>
          <a:chOff x="0" y="0"/>
          <a:chExt cx="0" cy="0"/>
        </a:xfrm>
      </p:grpSpPr>
      <p:graphicFrame>
        <p:nvGraphicFramePr>
          <p:cNvPr id="3"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04650" name="think-cell Folie" r:id="rId4" imgW="360" imgH="360" progId="">
                  <p:embed/>
                </p:oleObj>
              </mc:Choice>
              <mc:Fallback>
                <p:oleObj name="think-cell Folie" r:id="rId4" imgW="360" imgH="360" progId="">
                  <p:embed/>
                  <p:pic>
                    <p:nvPicPr>
                      <p:cNvPr id="2050"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uppieren 40"/>
          <p:cNvGrpSpPr>
            <a:grpSpLocks/>
          </p:cNvGrpSpPr>
          <p:nvPr userDrawn="1"/>
        </p:nvGrpSpPr>
        <p:grpSpPr bwMode="auto">
          <a:xfrm>
            <a:off x="576263" y="-166688"/>
            <a:ext cx="7416800" cy="144463"/>
            <a:chOff x="575556" y="-124966"/>
            <a:chExt cx="7416824" cy="108000"/>
          </a:xfrm>
        </p:grpSpPr>
        <p:sp>
          <p:nvSpPr>
            <p:cNvPr id="5"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6" name="Freihandform 42"/>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7" name="Freihandform 43"/>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8"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grpSp>
      <p:grpSp>
        <p:nvGrpSpPr>
          <p:cNvPr id="9" name="Gruppieren 45"/>
          <p:cNvGrpSpPr>
            <a:grpSpLocks/>
          </p:cNvGrpSpPr>
          <p:nvPr userDrawn="1"/>
        </p:nvGrpSpPr>
        <p:grpSpPr bwMode="auto">
          <a:xfrm>
            <a:off x="576263" y="6880225"/>
            <a:ext cx="7416800" cy="144463"/>
            <a:chOff x="575556" y="5160466"/>
            <a:chExt cx="7416824" cy="108000"/>
          </a:xfrm>
        </p:grpSpPr>
        <p:sp>
          <p:nvSpPr>
            <p:cNvPr id="10"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1" name="Freihandform 47"/>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2" name="Freihandform 48"/>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3"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grpSp>
      <p:grpSp>
        <p:nvGrpSpPr>
          <p:cNvPr id="14" name="Gruppieren 27"/>
          <p:cNvGrpSpPr>
            <a:grpSpLocks/>
          </p:cNvGrpSpPr>
          <p:nvPr userDrawn="1"/>
        </p:nvGrpSpPr>
        <p:grpSpPr bwMode="auto">
          <a:xfrm>
            <a:off x="-166688" y="1449388"/>
            <a:ext cx="144463" cy="4891087"/>
            <a:chOff x="-165953" y="1448781"/>
            <a:chExt cx="144001" cy="4891981"/>
          </a:xfrm>
        </p:grpSpPr>
        <p:sp>
          <p:nvSpPr>
            <p:cNvPr id="15" name="Freihandform 22"/>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16" name="Freihandform 23"/>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17" name="Freihandform 30"/>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grpSp>
        <p:nvGrpSpPr>
          <p:cNvPr id="18" name="Gruppieren 31"/>
          <p:cNvGrpSpPr>
            <a:grpSpLocks/>
          </p:cNvGrpSpPr>
          <p:nvPr userDrawn="1"/>
        </p:nvGrpSpPr>
        <p:grpSpPr bwMode="auto">
          <a:xfrm>
            <a:off x="9166225" y="1449388"/>
            <a:ext cx="144463" cy="4895850"/>
            <a:chOff x="9166242" y="1448781"/>
            <a:chExt cx="144000" cy="4896542"/>
          </a:xfrm>
        </p:grpSpPr>
        <p:sp>
          <p:nvSpPr>
            <p:cNvPr id="19" name="Freihandform 25"/>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20" name="Freihandform 47"/>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21" name="Freihandform 47"/>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pic>
        <p:nvPicPr>
          <p:cNvPr id="22" name="Obrázok 53"/>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50825" y="295275"/>
            <a:ext cx="60325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Obrázok 54"/>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040438" y="1843088"/>
            <a:ext cx="1836737" cy="100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bwMode="gray">
          <a:xfrm>
            <a:off x="576263" y="3466800"/>
            <a:ext cx="4608000" cy="2304000"/>
          </a:xfrm>
          <a:solidFill>
            <a:schemeClr val="accent2"/>
          </a:solidFill>
        </p:spPr>
        <p:txBody>
          <a:bodyPr lIns="396000" tIns="396000" rIns="396000" bIns="432000">
            <a:noAutofit/>
          </a:bodyPr>
          <a:lstStyle>
            <a:lvl1pPr>
              <a:defRPr sz="2600" b="0">
                <a:solidFill>
                  <a:schemeClr val="bg1"/>
                </a:solidFill>
              </a:defRPr>
            </a:lvl1pPr>
          </a:lstStyle>
          <a:p>
            <a:r>
              <a:rPr lang="sk-SK" noProof="0"/>
              <a:t>Upravte štýly predlohy textu</a:t>
            </a:r>
            <a:endParaRPr lang="de-DE" noProof="0" dirty="0"/>
          </a:p>
        </p:txBody>
      </p:sp>
      <p:sp>
        <p:nvSpPr>
          <p:cNvPr id="24" name="Fußzeilenplatzhalter 4"/>
          <p:cNvSpPr>
            <a:spLocks noGrp="1"/>
          </p:cNvSpPr>
          <p:nvPr>
            <p:ph type="ftr" sz="quarter" idx="10"/>
          </p:nvPr>
        </p:nvSpPr>
        <p:spPr>
          <a:xfrm>
            <a:off x="971550" y="5421313"/>
            <a:ext cx="3240088" cy="153987"/>
          </a:xfrm>
        </p:spPr>
        <p:txBody>
          <a:bodyPr anchor="b" anchorCtr="0"/>
          <a:lstStyle>
            <a:lvl1pPr>
              <a:defRPr sz="1000">
                <a:solidFill>
                  <a:schemeClr val="bg1"/>
                </a:solidFill>
              </a:defRPr>
            </a:lvl1pPr>
          </a:lstStyle>
          <a:p>
            <a:pPr>
              <a:defRPr/>
            </a:pPr>
            <a:endParaRPr lang="de-DE"/>
          </a:p>
        </p:txBody>
      </p:sp>
    </p:spTree>
    <p:extLst>
      <p:ext uri="{BB962C8B-B14F-4D97-AF65-F5344CB8AC3E}">
        <p14:creationId xmlns:p14="http://schemas.microsoft.com/office/powerpoint/2010/main" val="2108634648"/>
      </p:ext>
    </p:extLst>
  </p:cSld>
  <p:clrMapOvr>
    <a:masterClrMapping/>
  </p:clrMapOvr>
  <p:transition spd="med">
    <p:pull/>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parator slide Screen">
    <p:spTree>
      <p:nvGrpSpPr>
        <p:cNvPr id="1" name=""/>
        <p:cNvGrpSpPr/>
        <p:nvPr/>
      </p:nvGrpSpPr>
      <p:grpSpPr>
        <a:xfrm>
          <a:off x="0" y="0"/>
          <a:ext cx="0" cy="0"/>
          <a:chOff x="0" y="0"/>
          <a:chExt cx="0" cy="0"/>
        </a:xfrm>
      </p:grpSpPr>
      <p:graphicFrame>
        <p:nvGraphicFramePr>
          <p:cNvPr id="6"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12842" name="think-cell Folie" r:id="rId4" imgW="360" imgH="360" progId="">
                  <p:embed/>
                </p:oleObj>
              </mc:Choice>
              <mc:Fallback>
                <p:oleObj name="think-cell Folie" r:id="rId4" imgW="360" imgH="360" progId="">
                  <p:embed/>
                  <p:pic>
                    <p:nvPicPr>
                      <p:cNvPr id="11273"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BlokTextu 32"/>
          <p:cNvSpPr txBox="1">
            <a:spLocks noChangeArrowheads="1"/>
          </p:cNvSpPr>
          <p:nvPr userDrawn="1"/>
        </p:nvSpPr>
        <p:spPr bwMode="auto">
          <a:xfrm>
            <a:off x="8101013" y="6381750"/>
            <a:ext cx="8636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Font typeface="Arial" panose="020B0604020202020204" pitchFamily="34" charset="0"/>
              <a:buNone/>
              <a:defRPr/>
            </a:pPr>
            <a:r>
              <a:rPr lang="sk-SK" altLang="sk-SK" sz="1100">
                <a:solidFill>
                  <a:schemeClr val="bg1"/>
                </a:solidFill>
              </a:rPr>
              <a:t>Člen </a:t>
            </a:r>
            <a:r>
              <a:rPr lang="sk-SK" altLang="sk-SK" sz="1100" b="1">
                <a:solidFill>
                  <a:schemeClr val="bg1"/>
                </a:solidFill>
              </a:rPr>
              <a:t>innogy</a:t>
            </a:r>
          </a:p>
        </p:txBody>
      </p:sp>
      <p:pic>
        <p:nvPicPr>
          <p:cNvPr id="8" name="Obrázok 35"/>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202613" y="423863"/>
            <a:ext cx="812800"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platzhalter 45"/>
          <p:cNvSpPr>
            <a:spLocks noGrp="1"/>
          </p:cNvSpPr>
          <p:nvPr>
            <p:ph type="body" sz="quarter" idx="12"/>
          </p:nvPr>
        </p:nvSpPr>
        <p:spPr>
          <a:xfrm>
            <a:off x="0" y="-3"/>
            <a:ext cx="9144000" cy="6858003"/>
          </a:xfrm>
          <a:solidFill>
            <a:srgbClr val="005F69"/>
          </a:solidFill>
        </p:spPr>
        <p:txBody>
          <a:bodyPr>
            <a:noAutofit/>
          </a:bodyPr>
          <a:lstStyle>
            <a:lvl1pPr marL="0" indent="0">
              <a:buNone/>
              <a:defRPr>
                <a:solidFill>
                  <a:schemeClr val="bg1"/>
                </a:solidFill>
              </a:defRPr>
            </a:lvl1pPr>
          </a:lstStyle>
          <a:p>
            <a:pPr lvl="0"/>
            <a:r>
              <a:rPr lang="sk-SK" noProof="0"/>
              <a:t>Upraviť štýly predlohy textu</a:t>
            </a:r>
          </a:p>
        </p:txBody>
      </p:sp>
      <p:sp>
        <p:nvSpPr>
          <p:cNvPr id="2" name="Titel 1"/>
          <p:cNvSpPr>
            <a:spLocks noGrp="1"/>
          </p:cNvSpPr>
          <p:nvPr>
            <p:ph type="title"/>
          </p:nvPr>
        </p:nvSpPr>
        <p:spPr bwMode="gray">
          <a:xfrm>
            <a:off x="3028464" y="1866284"/>
            <a:ext cx="4964599" cy="1523494"/>
          </a:xfrm>
        </p:spPr>
        <p:txBody>
          <a:bodyPr anchor="b"/>
          <a:lstStyle>
            <a:lvl1pPr>
              <a:defRPr sz="5500" b="0" cap="all" baseline="0">
                <a:solidFill>
                  <a:srgbClr val="E60055"/>
                </a:solidFill>
              </a:defRPr>
            </a:lvl1pPr>
          </a:lstStyle>
          <a:p>
            <a:r>
              <a:rPr lang="sk-SK" noProof="0"/>
              <a:t>Upravte štýly predlohy textu</a:t>
            </a:r>
            <a:endParaRPr lang="en-GB" noProof="0"/>
          </a:p>
        </p:txBody>
      </p:sp>
      <p:sp>
        <p:nvSpPr>
          <p:cNvPr id="10" name="Textplatzhalter 9"/>
          <p:cNvSpPr>
            <a:spLocks noGrp="1"/>
          </p:cNvSpPr>
          <p:nvPr>
            <p:ph type="body" sz="quarter" idx="10"/>
          </p:nvPr>
        </p:nvSpPr>
        <p:spPr bwMode="gray">
          <a:xfrm>
            <a:off x="3027967" y="3424735"/>
            <a:ext cx="4963255" cy="430887"/>
          </a:xfrm>
        </p:spPr>
        <p:txBody>
          <a:bodyPr rtlCol="0">
            <a:spAutoFit/>
          </a:bodyPr>
          <a:lstStyle>
            <a:lvl1pPr marL="0" indent="0">
              <a:buNone/>
              <a:defRPr lang="de-DE" sz="2800" b="0" cap="none" baseline="0" smtClean="0">
                <a:latin typeface="+mj-lt"/>
                <a:ea typeface="+mj-ea"/>
                <a:cs typeface="+mj-cs"/>
              </a:defRPr>
            </a:lvl1pPr>
            <a:lvl2pPr>
              <a:defRPr lang="de-DE" sz="1800" smtClean="0"/>
            </a:lvl2pPr>
            <a:lvl3pPr>
              <a:defRPr lang="de-DE" sz="1800" smtClean="0"/>
            </a:lvl3pPr>
            <a:lvl4pPr>
              <a:defRPr lang="de-DE" sz="1800" smtClean="0"/>
            </a:lvl4pPr>
            <a:lvl5pPr>
              <a:defRPr lang="de-DE" sz="1800"/>
            </a:lvl5pPr>
          </a:lstStyle>
          <a:p>
            <a:pPr lvl="0"/>
            <a:r>
              <a:rPr lang="sk-SK" noProof="0"/>
              <a:t>Upraviť štýly predlohy textu</a:t>
            </a:r>
          </a:p>
        </p:txBody>
      </p:sp>
    </p:spTree>
    <p:extLst>
      <p:ext uri="{BB962C8B-B14F-4D97-AF65-F5344CB8AC3E}">
        <p14:creationId xmlns:p14="http://schemas.microsoft.com/office/powerpoint/2010/main" val="1402202205"/>
      </p:ext>
    </p:extLst>
  </p:cSld>
  <p:clrMapOvr>
    <a:masterClrMapping/>
  </p:clrMapOvr>
  <p:transition spd="med">
    <p:pull/>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adpis a text">
    <p:spTree>
      <p:nvGrpSpPr>
        <p:cNvPr id="1" name=""/>
        <p:cNvGrpSpPr/>
        <p:nvPr/>
      </p:nvGrpSpPr>
      <p:grpSpPr>
        <a:xfrm>
          <a:off x="0" y="0"/>
          <a:ext cx="0" cy="0"/>
          <a:chOff x="0" y="0"/>
          <a:chExt cx="0" cy="0"/>
        </a:xfrm>
      </p:grpSpPr>
      <p:graphicFrame>
        <p:nvGraphicFramePr>
          <p:cNvPr id="5"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13866" name="think-cell Folie" r:id="rId4" imgW="360" imgH="360" progId="">
                  <p:embed/>
                </p:oleObj>
              </mc:Choice>
              <mc:Fallback>
                <p:oleObj name="think-cell Folie" r:id="rId4" imgW="360" imgH="360" progId="">
                  <p:embed/>
                  <p:pic>
                    <p:nvPicPr>
                      <p:cNvPr id="12297"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575556" y="475200"/>
            <a:ext cx="7416824" cy="360099"/>
          </a:xfrm>
        </p:spPr>
        <p:txBody>
          <a:bodyPr/>
          <a:lstStyle/>
          <a:p>
            <a:r>
              <a:rPr lang="sk-SK" noProof="0"/>
              <a:t>Upravte štýly predlohy textu</a:t>
            </a:r>
            <a:endParaRPr lang="en-GB" noProof="0"/>
          </a:p>
        </p:txBody>
      </p:sp>
      <p:sp>
        <p:nvSpPr>
          <p:cNvPr id="13" name="Textplatzhalter 8"/>
          <p:cNvSpPr>
            <a:spLocks noGrp="1"/>
          </p:cNvSpPr>
          <p:nvPr>
            <p:ph type="body" sz="quarter" idx="14"/>
          </p:nvPr>
        </p:nvSpPr>
        <p:spPr>
          <a:xfrm>
            <a:off x="576000" y="187200"/>
            <a:ext cx="7417063" cy="215444"/>
          </a:xfrm>
        </p:spPr>
        <p:txBody>
          <a:bodyPr anchor="ctr"/>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6" name="Textplatzhalter 5"/>
          <p:cNvSpPr>
            <a:spLocks noGrp="1"/>
          </p:cNvSpPr>
          <p:nvPr>
            <p:ph type="body" sz="quarter" idx="15"/>
          </p:nvPr>
        </p:nvSpPr>
        <p:spPr>
          <a:xfrm>
            <a:off x="576263" y="1670400"/>
            <a:ext cx="7416800" cy="4674838"/>
          </a:xfrm>
        </p:spPr>
        <p:txBody>
          <a:bodyPr>
            <a:noAutofit/>
          </a:bodyPr>
          <a:lstStyle/>
          <a:p>
            <a:pPr lvl="0"/>
            <a:r>
              <a:rPr lang="sk-SK" noProof="0" dirty="0"/>
              <a:t>Upraviť štýly predlohy textu</a:t>
            </a:r>
          </a:p>
          <a:p>
            <a:pPr lvl="1"/>
            <a:r>
              <a:rPr lang="sk-SK" noProof="0" dirty="0"/>
              <a:t>Druhá úroveň</a:t>
            </a:r>
          </a:p>
          <a:p>
            <a:pPr lvl="2"/>
            <a:r>
              <a:rPr lang="sk-SK" noProof="0" dirty="0"/>
              <a:t>Tretia úroveň</a:t>
            </a:r>
          </a:p>
          <a:p>
            <a:pPr lvl="3"/>
            <a:r>
              <a:rPr lang="sk-SK" noProof="0" dirty="0"/>
              <a:t>Štvrtá úroveň</a:t>
            </a:r>
          </a:p>
          <a:p>
            <a:pPr lvl="4"/>
            <a:r>
              <a:rPr lang="sk-SK" noProof="0" dirty="0"/>
              <a:t>Piata úroveň</a:t>
            </a:r>
            <a:endParaRPr lang="en-GB" noProof="0" dirty="0"/>
          </a:p>
        </p:txBody>
      </p:sp>
      <p:sp>
        <p:nvSpPr>
          <p:cNvPr id="7" name="Fußzeilenplatzhalter 2"/>
          <p:cNvSpPr>
            <a:spLocks noGrp="1"/>
          </p:cNvSpPr>
          <p:nvPr>
            <p:ph type="ftr" sz="quarter" idx="16"/>
          </p:nvPr>
        </p:nvSpPr>
        <p:spPr/>
        <p:txBody>
          <a:bodyPr/>
          <a:lstStyle>
            <a:lvl1pPr>
              <a:defRPr/>
            </a:lvl1pPr>
          </a:lstStyle>
          <a:p>
            <a:pPr>
              <a:defRPr/>
            </a:pPr>
            <a:endParaRPr lang="en-GB"/>
          </a:p>
        </p:txBody>
      </p:sp>
      <p:sp>
        <p:nvSpPr>
          <p:cNvPr id="8" name="Foliennummernplatzhalter 3"/>
          <p:cNvSpPr>
            <a:spLocks noGrp="1"/>
          </p:cNvSpPr>
          <p:nvPr>
            <p:ph type="sldNum" sz="quarter" idx="17"/>
          </p:nvPr>
        </p:nvSpPr>
        <p:spPr/>
        <p:txBody>
          <a:bodyPr/>
          <a:lstStyle>
            <a:lvl1pPr>
              <a:defRPr/>
            </a:lvl1pPr>
          </a:lstStyle>
          <a:p>
            <a:pPr>
              <a:defRPr/>
            </a:pPr>
            <a:fld id="{00556183-8368-46F1-861A-02B37D61B3DE}" type="slidenum">
              <a:rPr lang="en-GB"/>
              <a:pPr>
                <a:defRPr/>
              </a:pPr>
              <a:t>‹#›</a:t>
            </a:fld>
            <a:endParaRPr lang="en-GB"/>
          </a:p>
        </p:txBody>
      </p:sp>
    </p:spTree>
    <p:extLst>
      <p:ext uri="{BB962C8B-B14F-4D97-AF65-F5344CB8AC3E}">
        <p14:creationId xmlns:p14="http://schemas.microsoft.com/office/powerpoint/2010/main" val="3089146084"/>
      </p:ext>
    </p:extLst>
  </p:cSld>
  <p:clrMapOvr>
    <a:masterClrMapping/>
  </p:clrMapOvr>
  <p:transition spd="med">
    <p:pull/>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en nadpis">
    <p:spTree>
      <p:nvGrpSpPr>
        <p:cNvPr id="1" name=""/>
        <p:cNvGrpSpPr/>
        <p:nvPr/>
      </p:nvGrpSpPr>
      <p:grpSpPr>
        <a:xfrm>
          <a:off x="0" y="0"/>
          <a:ext cx="0" cy="0"/>
          <a:chOff x="0" y="0"/>
          <a:chExt cx="0" cy="0"/>
        </a:xfrm>
      </p:grpSpPr>
      <p:graphicFrame>
        <p:nvGraphicFramePr>
          <p:cNvPr id="4"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14890" name="think-cell Folie" r:id="rId4" imgW="360" imgH="360" progId="">
                  <p:embed/>
                </p:oleObj>
              </mc:Choice>
              <mc:Fallback>
                <p:oleObj name="think-cell Folie" r:id="rId4" imgW="360" imgH="360" progId="">
                  <p:embed/>
                  <p:pic>
                    <p:nvPicPr>
                      <p:cNvPr id="13321"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575556" y="475200"/>
            <a:ext cx="7416824" cy="360099"/>
          </a:xfrm>
        </p:spPr>
        <p:txBody>
          <a:bodyPr/>
          <a:lstStyle/>
          <a:p>
            <a:r>
              <a:rPr lang="sk-SK" noProof="0"/>
              <a:t>Upravte štýly predlohy textu</a:t>
            </a:r>
            <a:endParaRPr lang="en-GB" noProof="0"/>
          </a:p>
        </p:txBody>
      </p:sp>
      <p:sp>
        <p:nvSpPr>
          <p:cNvPr id="13" name="Textplatzhalter 8"/>
          <p:cNvSpPr>
            <a:spLocks noGrp="1"/>
          </p:cNvSpPr>
          <p:nvPr>
            <p:ph type="body" sz="quarter" idx="14"/>
          </p:nvPr>
        </p:nvSpPr>
        <p:spPr>
          <a:xfrm>
            <a:off x="576000" y="187200"/>
            <a:ext cx="7417063" cy="215444"/>
          </a:xfrm>
        </p:spPr>
        <p:txBody>
          <a:bodyPr anchor="ctr"/>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5" name="Fußzeilenplatzhalter 2"/>
          <p:cNvSpPr>
            <a:spLocks noGrp="1"/>
          </p:cNvSpPr>
          <p:nvPr>
            <p:ph type="ftr" sz="quarter" idx="15"/>
          </p:nvPr>
        </p:nvSpPr>
        <p:spPr/>
        <p:txBody>
          <a:bodyPr/>
          <a:lstStyle>
            <a:lvl1pPr>
              <a:defRPr/>
            </a:lvl1pPr>
          </a:lstStyle>
          <a:p>
            <a:pPr>
              <a:defRPr/>
            </a:pPr>
            <a:endParaRPr lang="en-GB"/>
          </a:p>
        </p:txBody>
      </p:sp>
      <p:sp>
        <p:nvSpPr>
          <p:cNvPr id="6" name="Foliennummernplatzhalter 3"/>
          <p:cNvSpPr>
            <a:spLocks noGrp="1"/>
          </p:cNvSpPr>
          <p:nvPr>
            <p:ph type="sldNum" sz="quarter" idx="16"/>
          </p:nvPr>
        </p:nvSpPr>
        <p:spPr/>
        <p:txBody>
          <a:bodyPr/>
          <a:lstStyle>
            <a:lvl1pPr>
              <a:defRPr/>
            </a:lvl1pPr>
          </a:lstStyle>
          <a:p>
            <a:pPr>
              <a:defRPr/>
            </a:pPr>
            <a:fld id="{C9BED0D0-3BD5-43A1-9B54-287F4B21CE14}" type="slidenum">
              <a:rPr lang="en-GB"/>
              <a:pPr>
                <a:defRPr/>
              </a:pPr>
              <a:t>‹#›</a:t>
            </a:fld>
            <a:endParaRPr lang="en-GB"/>
          </a:p>
        </p:txBody>
      </p:sp>
    </p:spTree>
    <p:extLst>
      <p:ext uri="{BB962C8B-B14F-4D97-AF65-F5344CB8AC3E}">
        <p14:creationId xmlns:p14="http://schemas.microsoft.com/office/powerpoint/2010/main" val="496382695"/>
      </p:ext>
    </p:extLst>
  </p:cSld>
  <p:clrMapOvr>
    <a:masterClrMapping/>
  </p:clrMapOvr>
  <p:transition spd="med">
    <p:pull/>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icture left, text right">
    <p:spTree>
      <p:nvGrpSpPr>
        <p:cNvPr id="1" name=""/>
        <p:cNvGrpSpPr/>
        <p:nvPr/>
      </p:nvGrpSpPr>
      <p:grpSpPr>
        <a:xfrm>
          <a:off x="0" y="0"/>
          <a:ext cx="0" cy="0"/>
          <a:chOff x="0" y="0"/>
          <a:chExt cx="0" cy="0"/>
        </a:xfrm>
      </p:grpSpPr>
      <p:graphicFrame>
        <p:nvGraphicFramePr>
          <p:cNvPr id="7"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15914" name="think-cell Folie" r:id="rId4" imgW="360" imgH="360" progId="">
                  <p:embed/>
                </p:oleObj>
              </mc:Choice>
              <mc:Fallback>
                <p:oleObj name="think-cell Folie" r:id="rId4" imgW="360" imgH="360" progId="">
                  <p:embed/>
                  <p:pic>
                    <p:nvPicPr>
                      <p:cNvPr id="14345"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575556" y="475200"/>
            <a:ext cx="7416824" cy="360099"/>
          </a:xfrm>
        </p:spPr>
        <p:txBody>
          <a:bodyPr/>
          <a:lstStyle/>
          <a:p>
            <a:r>
              <a:rPr lang="sk-SK" noProof="0"/>
              <a:t>Upravte štýly predlohy textu</a:t>
            </a:r>
            <a:endParaRPr lang="en-GB" noProof="0"/>
          </a:p>
        </p:txBody>
      </p:sp>
      <p:sp>
        <p:nvSpPr>
          <p:cNvPr id="9" name="Bildplatzhalter 8"/>
          <p:cNvSpPr>
            <a:spLocks noGrp="1"/>
          </p:cNvSpPr>
          <p:nvPr>
            <p:ph type="pic" sz="quarter" idx="12"/>
          </p:nvPr>
        </p:nvSpPr>
        <p:spPr>
          <a:xfrm>
            <a:off x="576264" y="1736724"/>
            <a:ext cx="3563937" cy="4322075"/>
          </a:xfrm>
          <a:blipFill>
            <a:blip r:embed="rId6"/>
            <a:stretch>
              <a:fillRect/>
            </a:stretch>
          </a:blipFill>
        </p:spPr>
        <p:txBody>
          <a:bodyPr rtlCol="0">
            <a:noAutofit/>
          </a:bodyPr>
          <a:lstStyle>
            <a:lvl1pPr>
              <a:defRPr lang="de-DE" sz="1000"/>
            </a:lvl1pPr>
          </a:lstStyle>
          <a:p>
            <a:pPr lvl="0"/>
            <a:r>
              <a:rPr lang="sk-SK" noProof="0"/>
              <a:t>Ak chcete pridať obrázok, kliknite na ikonu</a:t>
            </a:r>
            <a:endParaRPr lang="en-GB" noProof="0" dirty="0"/>
          </a:p>
        </p:txBody>
      </p:sp>
      <p:sp>
        <p:nvSpPr>
          <p:cNvPr id="12" name="Textplatzhalter 2"/>
          <p:cNvSpPr>
            <a:spLocks noGrp="1"/>
          </p:cNvSpPr>
          <p:nvPr>
            <p:ph idx="13"/>
          </p:nvPr>
        </p:nvSpPr>
        <p:spPr bwMode="gray">
          <a:xfrm>
            <a:off x="575557" y="6156096"/>
            <a:ext cx="3565525" cy="184666"/>
          </a:xfrm>
          <a:prstGeom prst="rect">
            <a:avLst/>
          </a:prstGeom>
        </p:spPr>
        <p:txBody>
          <a:bodyPr rtlCol="0">
            <a:spAutoFit/>
          </a:bodyPr>
          <a:lstStyle>
            <a:lvl1pPr marL="0" indent="0">
              <a:buNone/>
              <a:defRPr sz="1200"/>
            </a:lvl1pPr>
          </a:lstStyle>
          <a:p>
            <a:pPr lvl="0"/>
            <a:r>
              <a:rPr lang="sk-SK" noProof="0"/>
              <a:t>Upraviť štýly predlohy textu</a:t>
            </a:r>
          </a:p>
        </p:txBody>
      </p:sp>
      <p:sp>
        <p:nvSpPr>
          <p:cNvPr id="13" name="Textplatzhalter 8"/>
          <p:cNvSpPr>
            <a:spLocks noGrp="1"/>
          </p:cNvSpPr>
          <p:nvPr>
            <p:ph type="body" sz="quarter" idx="14"/>
          </p:nvPr>
        </p:nvSpPr>
        <p:spPr>
          <a:xfrm>
            <a:off x="576000" y="187200"/>
            <a:ext cx="7417063" cy="215444"/>
          </a:xfrm>
        </p:spPr>
        <p:txBody>
          <a:bodyPr anchor="ctr"/>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14" name="Textplatzhalter 13"/>
          <p:cNvSpPr>
            <a:spLocks noGrp="1"/>
          </p:cNvSpPr>
          <p:nvPr>
            <p:ph type="body" sz="quarter" idx="15"/>
          </p:nvPr>
        </p:nvSpPr>
        <p:spPr>
          <a:xfrm>
            <a:off x="4427539" y="1670400"/>
            <a:ext cx="3565525" cy="4674838"/>
          </a:xfrm>
        </p:spPr>
        <p:txBody>
          <a:bodyPr/>
          <a:lstStyle/>
          <a:p>
            <a:pPr lvl="0"/>
            <a:r>
              <a:rPr lang="sk-SK" noProof="0"/>
              <a:t>Upraviť štýly predlohy textu</a:t>
            </a:r>
          </a:p>
          <a:p>
            <a:pPr lvl="1"/>
            <a:r>
              <a:rPr lang="sk-SK" noProof="0"/>
              <a:t>Druhá úroveň</a:t>
            </a:r>
          </a:p>
          <a:p>
            <a:pPr lvl="2"/>
            <a:r>
              <a:rPr lang="sk-SK" noProof="0"/>
              <a:t>Tretia úroveň</a:t>
            </a:r>
          </a:p>
          <a:p>
            <a:pPr lvl="3"/>
            <a:r>
              <a:rPr lang="sk-SK" noProof="0"/>
              <a:t>Štvrtá úroveň</a:t>
            </a:r>
          </a:p>
          <a:p>
            <a:pPr lvl="4"/>
            <a:r>
              <a:rPr lang="sk-SK" noProof="0"/>
              <a:t>Piata úroveň</a:t>
            </a:r>
            <a:endParaRPr lang="en-GB" noProof="0"/>
          </a:p>
        </p:txBody>
      </p:sp>
      <p:sp>
        <p:nvSpPr>
          <p:cNvPr id="8" name="Fußzeilenplatzhalter 2"/>
          <p:cNvSpPr>
            <a:spLocks noGrp="1"/>
          </p:cNvSpPr>
          <p:nvPr>
            <p:ph type="ftr" sz="quarter" idx="16"/>
          </p:nvPr>
        </p:nvSpPr>
        <p:spPr/>
        <p:txBody>
          <a:bodyPr/>
          <a:lstStyle>
            <a:lvl1pPr>
              <a:defRPr/>
            </a:lvl1pPr>
          </a:lstStyle>
          <a:p>
            <a:pPr>
              <a:defRPr/>
            </a:pPr>
            <a:endParaRPr lang="en-GB"/>
          </a:p>
        </p:txBody>
      </p:sp>
      <p:sp>
        <p:nvSpPr>
          <p:cNvPr id="10" name="Foliennummernplatzhalter 3"/>
          <p:cNvSpPr>
            <a:spLocks noGrp="1"/>
          </p:cNvSpPr>
          <p:nvPr>
            <p:ph type="sldNum" sz="quarter" idx="17"/>
          </p:nvPr>
        </p:nvSpPr>
        <p:spPr/>
        <p:txBody>
          <a:bodyPr/>
          <a:lstStyle>
            <a:lvl1pPr>
              <a:defRPr/>
            </a:lvl1pPr>
          </a:lstStyle>
          <a:p>
            <a:pPr>
              <a:defRPr/>
            </a:pPr>
            <a:fld id="{74574A02-40DB-40AB-8789-21A7797F1A5A}" type="slidenum">
              <a:rPr lang="en-GB"/>
              <a:pPr>
                <a:defRPr/>
              </a:pPr>
              <a:t>‹#›</a:t>
            </a:fld>
            <a:endParaRPr lang="en-GB"/>
          </a:p>
        </p:txBody>
      </p:sp>
    </p:spTree>
    <p:extLst>
      <p:ext uri="{BB962C8B-B14F-4D97-AF65-F5344CB8AC3E}">
        <p14:creationId xmlns:p14="http://schemas.microsoft.com/office/powerpoint/2010/main" val="781686971"/>
      </p:ext>
    </p:extLst>
  </p:cSld>
  <p:clrMapOvr>
    <a:masterClrMapping/>
  </p:clrMapOvr>
  <p:transition spd="med">
    <p:pull/>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2/3 picture and 1/3 text">
    <p:spTree>
      <p:nvGrpSpPr>
        <p:cNvPr id="1" name=""/>
        <p:cNvGrpSpPr/>
        <p:nvPr/>
      </p:nvGrpSpPr>
      <p:grpSpPr>
        <a:xfrm>
          <a:off x="0" y="0"/>
          <a:ext cx="0" cy="0"/>
          <a:chOff x="0" y="0"/>
          <a:chExt cx="0" cy="0"/>
        </a:xfrm>
      </p:grpSpPr>
      <p:graphicFrame>
        <p:nvGraphicFramePr>
          <p:cNvPr id="7"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16938" name="think-cell Folie" r:id="rId4" imgW="360" imgH="360" progId="">
                  <p:embed/>
                </p:oleObj>
              </mc:Choice>
              <mc:Fallback>
                <p:oleObj name="think-cell Folie" r:id="rId4" imgW="360" imgH="360" progId="">
                  <p:embed/>
                  <p:pic>
                    <p:nvPicPr>
                      <p:cNvPr id="15369"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575556" y="475200"/>
            <a:ext cx="7416824" cy="360099"/>
          </a:xfrm>
        </p:spPr>
        <p:txBody>
          <a:bodyPr/>
          <a:lstStyle/>
          <a:p>
            <a:r>
              <a:rPr lang="sk-SK" noProof="0"/>
              <a:t>Upravte štýly predlohy textu</a:t>
            </a:r>
            <a:endParaRPr lang="en-GB" noProof="0"/>
          </a:p>
        </p:txBody>
      </p:sp>
      <p:sp>
        <p:nvSpPr>
          <p:cNvPr id="9" name="Bildplatzhalter 8"/>
          <p:cNvSpPr>
            <a:spLocks noGrp="1"/>
          </p:cNvSpPr>
          <p:nvPr>
            <p:ph type="pic" sz="quarter" idx="12"/>
          </p:nvPr>
        </p:nvSpPr>
        <p:spPr>
          <a:xfrm>
            <a:off x="576264" y="1736724"/>
            <a:ext cx="4751821" cy="4322075"/>
          </a:xfrm>
          <a:blipFill>
            <a:blip r:embed="rId6"/>
            <a:stretch>
              <a:fillRect/>
            </a:stretch>
          </a:blipFill>
        </p:spPr>
        <p:txBody>
          <a:bodyPr rtlCol="0">
            <a:noAutofit/>
          </a:bodyPr>
          <a:lstStyle>
            <a:lvl1pPr>
              <a:defRPr lang="de-DE" sz="1000"/>
            </a:lvl1pPr>
          </a:lstStyle>
          <a:p>
            <a:pPr lvl="0"/>
            <a:r>
              <a:rPr lang="sk-SK" noProof="0"/>
              <a:t>Ak chcete pridať obrázok, kliknite na ikonu</a:t>
            </a:r>
            <a:endParaRPr lang="en-GB" noProof="0" dirty="0"/>
          </a:p>
        </p:txBody>
      </p:sp>
      <p:sp>
        <p:nvSpPr>
          <p:cNvPr id="12" name="Textplatzhalter 2"/>
          <p:cNvSpPr>
            <a:spLocks noGrp="1"/>
          </p:cNvSpPr>
          <p:nvPr>
            <p:ph idx="13"/>
          </p:nvPr>
        </p:nvSpPr>
        <p:spPr bwMode="gray">
          <a:xfrm>
            <a:off x="575555" y="6156096"/>
            <a:ext cx="4752000" cy="184666"/>
          </a:xfrm>
          <a:prstGeom prst="rect">
            <a:avLst/>
          </a:prstGeom>
        </p:spPr>
        <p:txBody>
          <a:bodyPr rtlCol="0">
            <a:spAutoFit/>
          </a:bodyPr>
          <a:lstStyle>
            <a:lvl1pPr marL="0" indent="0">
              <a:buNone/>
              <a:defRPr sz="1200"/>
            </a:lvl1pPr>
          </a:lstStyle>
          <a:p>
            <a:pPr lvl="0"/>
            <a:r>
              <a:rPr lang="sk-SK" noProof="0"/>
              <a:t>Upraviť štýly predlohy textu</a:t>
            </a:r>
          </a:p>
        </p:txBody>
      </p:sp>
      <p:sp>
        <p:nvSpPr>
          <p:cNvPr id="13" name="Textplatzhalter 8"/>
          <p:cNvSpPr>
            <a:spLocks noGrp="1"/>
          </p:cNvSpPr>
          <p:nvPr>
            <p:ph type="body" sz="quarter" idx="14"/>
          </p:nvPr>
        </p:nvSpPr>
        <p:spPr>
          <a:xfrm>
            <a:off x="576000" y="187200"/>
            <a:ext cx="7417063" cy="215444"/>
          </a:xfrm>
        </p:spPr>
        <p:txBody>
          <a:bodyPr anchor="ctr"/>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14" name="Textplatzhalter 13"/>
          <p:cNvSpPr>
            <a:spLocks noGrp="1"/>
          </p:cNvSpPr>
          <p:nvPr>
            <p:ph type="body" sz="quarter" idx="15"/>
          </p:nvPr>
        </p:nvSpPr>
        <p:spPr>
          <a:xfrm>
            <a:off x="5616117" y="1670400"/>
            <a:ext cx="2376947" cy="4674838"/>
          </a:xfrm>
        </p:spPr>
        <p:txBody>
          <a:bodyPr/>
          <a:lstStyle/>
          <a:p>
            <a:pPr lvl="0"/>
            <a:r>
              <a:rPr lang="sk-SK" noProof="0"/>
              <a:t>Upraviť štýly predlohy textu</a:t>
            </a:r>
          </a:p>
          <a:p>
            <a:pPr lvl="1"/>
            <a:r>
              <a:rPr lang="sk-SK" noProof="0"/>
              <a:t>Druhá úroveň</a:t>
            </a:r>
          </a:p>
          <a:p>
            <a:pPr lvl="2"/>
            <a:r>
              <a:rPr lang="sk-SK" noProof="0"/>
              <a:t>Tretia úroveň</a:t>
            </a:r>
          </a:p>
          <a:p>
            <a:pPr lvl="3"/>
            <a:r>
              <a:rPr lang="sk-SK" noProof="0"/>
              <a:t>Štvrtá úroveň</a:t>
            </a:r>
          </a:p>
          <a:p>
            <a:pPr lvl="4"/>
            <a:r>
              <a:rPr lang="sk-SK" noProof="0"/>
              <a:t>Piata úroveň</a:t>
            </a:r>
            <a:endParaRPr lang="en-GB" noProof="0"/>
          </a:p>
        </p:txBody>
      </p:sp>
      <p:sp>
        <p:nvSpPr>
          <p:cNvPr id="8" name="Fußzeilenplatzhalter 2"/>
          <p:cNvSpPr>
            <a:spLocks noGrp="1"/>
          </p:cNvSpPr>
          <p:nvPr>
            <p:ph type="ftr" sz="quarter" idx="16"/>
          </p:nvPr>
        </p:nvSpPr>
        <p:spPr/>
        <p:txBody>
          <a:bodyPr/>
          <a:lstStyle>
            <a:lvl1pPr>
              <a:defRPr/>
            </a:lvl1pPr>
          </a:lstStyle>
          <a:p>
            <a:pPr>
              <a:defRPr/>
            </a:pPr>
            <a:endParaRPr lang="en-GB"/>
          </a:p>
        </p:txBody>
      </p:sp>
      <p:sp>
        <p:nvSpPr>
          <p:cNvPr id="10" name="Foliennummernplatzhalter 3"/>
          <p:cNvSpPr>
            <a:spLocks noGrp="1"/>
          </p:cNvSpPr>
          <p:nvPr>
            <p:ph type="sldNum" sz="quarter" idx="17"/>
          </p:nvPr>
        </p:nvSpPr>
        <p:spPr/>
        <p:txBody>
          <a:bodyPr/>
          <a:lstStyle>
            <a:lvl1pPr>
              <a:defRPr/>
            </a:lvl1pPr>
          </a:lstStyle>
          <a:p>
            <a:pPr>
              <a:defRPr/>
            </a:pPr>
            <a:fld id="{A531A48E-6266-4E38-A7F1-DBDA625DBE68}" type="slidenum">
              <a:rPr lang="en-GB"/>
              <a:pPr>
                <a:defRPr/>
              </a:pPr>
              <a:t>‹#›</a:t>
            </a:fld>
            <a:endParaRPr lang="en-GB"/>
          </a:p>
        </p:txBody>
      </p:sp>
    </p:spTree>
    <p:extLst>
      <p:ext uri="{BB962C8B-B14F-4D97-AF65-F5344CB8AC3E}">
        <p14:creationId xmlns:p14="http://schemas.microsoft.com/office/powerpoint/2010/main" val="1685847279"/>
      </p:ext>
    </p:extLst>
  </p:cSld>
  <p:clrMapOvr>
    <a:masterClrMapping/>
  </p:clrMapOvr>
  <p:transition spd="med">
    <p:pull/>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graphicFrame>
        <p:nvGraphicFramePr>
          <p:cNvPr id="6"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17962" name="think-cell Folie" r:id="rId4" imgW="360" imgH="360" progId="">
                  <p:embed/>
                </p:oleObj>
              </mc:Choice>
              <mc:Fallback>
                <p:oleObj name="think-cell Folie" r:id="rId4" imgW="360" imgH="360" progId="">
                  <p:embed/>
                  <p:pic>
                    <p:nvPicPr>
                      <p:cNvPr id="16393"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575556" y="475200"/>
            <a:ext cx="7416824" cy="360099"/>
          </a:xfrm>
        </p:spPr>
        <p:txBody>
          <a:bodyPr/>
          <a:lstStyle/>
          <a:p>
            <a:r>
              <a:rPr lang="sk-SK" noProof="0"/>
              <a:t>Upravte štýly predlohy textu</a:t>
            </a:r>
            <a:endParaRPr lang="en-GB" noProof="0"/>
          </a:p>
        </p:txBody>
      </p:sp>
      <p:sp>
        <p:nvSpPr>
          <p:cNvPr id="9" name="Bildplatzhalter 8"/>
          <p:cNvSpPr>
            <a:spLocks noGrp="1"/>
          </p:cNvSpPr>
          <p:nvPr>
            <p:ph type="pic" sz="quarter" idx="12"/>
          </p:nvPr>
        </p:nvSpPr>
        <p:spPr>
          <a:xfrm>
            <a:off x="576263" y="1736724"/>
            <a:ext cx="7416800" cy="4320613"/>
          </a:xfrm>
          <a:blipFill>
            <a:blip r:embed="rId6"/>
            <a:stretch>
              <a:fillRect/>
            </a:stretch>
          </a:blipFill>
        </p:spPr>
        <p:txBody>
          <a:bodyPr rtlCol="0">
            <a:noAutofit/>
          </a:bodyPr>
          <a:lstStyle>
            <a:lvl1pPr>
              <a:defRPr lang="de-DE" sz="1000"/>
            </a:lvl1pPr>
          </a:lstStyle>
          <a:p>
            <a:pPr lvl="0"/>
            <a:r>
              <a:rPr lang="sk-SK" noProof="0"/>
              <a:t>Ak chcete pridať obrázok, kliknite na ikonu</a:t>
            </a:r>
            <a:endParaRPr lang="en-GB" noProof="0" dirty="0"/>
          </a:p>
        </p:txBody>
      </p:sp>
      <p:sp>
        <p:nvSpPr>
          <p:cNvPr id="12" name="Textplatzhalter 2"/>
          <p:cNvSpPr>
            <a:spLocks noGrp="1"/>
          </p:cNvSpPr>
          <p:nvPr>
            <p:ph idx="13"/>
          </p:nvPr>
        </p:nvSpPr>
        <p:spPr bwMode="gray">
          <a:xfrm>
            <a:off x="575555" y="6156000"/>
            <a:ext cx="7416000" cy="184666"/>
          </a:xfrm>
          <a:prstGeom prst="rect">
            <a:avLst/>
          </a:prstGeom>
        </p:spPr>
        <p:txBody>
          <a:bodyPr rtlCol="0">
            <a:spAutoFit/>
          </a:bodyPr>
          <a:lstStyle>
            <a:lvl1pPr marL="0" indent="0">
              <a:buNone/>
              <a:defRPr sz="1200"/>
            </a:lvl1pPr>
          </a:lstStyle>
          <a:p>
            <a:pPr lvl="0"/>
            <a:r>
              <a:rPr lang="sk-SK" noProof="0"/>
              <a:t>Upraviť štýly predlohy textu</a:t>
            </a:r>
          </a:p>
        </p:txBody>
      </p:sp>
      <p:sp>
        <p:nvSpPr>
          <p:cNvPr id="13" name="Textplatzhalter 8"/>
          <p:cNvSpPr>
            <a:spLocks noGrp="1"/>
          </p:cNvSpPr>
          <p:nvPr>
            <p:ph type="body" sz="quarter" idx="14"/>
          </p:nvPr>
        </p:nvSpPr>
        <p:spPr>
          <a:xfrm>
            <a:off x="576000" y="187200"/>
            <a:ext cx="7417063" cy="215444"/>
          </a:xfrm>
        </p:spPr>
        <p:txBody>
          <a:bodyPr anchor="ctr"/>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7" name="Fußzeilenplatzhalter 2"/>
          <p:cNvSpPr>
            <a:spLocks noGrp="1"/>
          </p:cNvSpPr>
          <p:nvPr>
            <p:ph type="ftr" sz="quarter" idx="15"/>
          </p:nvPr>
        </p:nvSpPr>
        <p:spPr/>
        <p:txBody>
          <a:bodyPr/>
          <a:lstStyle>
            <a:lvl1pPr>
              <a:defRPr/>
            </a:lvl1pPr>
          </a:lstStyle>
          <a:p>
            <a:pPr>
              <a:defRPr/>
            </a:pPr>
            <a:endParaRPr lang="en-GB"/>
          </a:p>
        </p:txBody>
      </p:sp>
      <p:sp>
        <p:nvSpPr>
          <p:cNvPr id="8" name="Foliennummernplatzhalter 3"/>
          <p:cNvSpPr>
            <a:spLocks noGrp="1"/>
          </p:cNvSpPr>
          <p:nvPr>
            <p:ph type="sldNum" sz="quarter" idx="16"/>
          </p:nvPr>
        </p:nvSpPr>
        <p:spPr/>
        <p:txBody>
          <a:bodyPr/>
          <a:lstStyle>
            <a:lvl1pPr>
              <a:defRPr/>
            </a:lvl1pPr>
          </a:lstStyle>
          <a:p>
            <a:pPr>
              <a:defRPr/>
            </a:pPr>
            <a:fld id="{DBEF1AC0-DA49-4250-A47E-51B8B36ADEBC}" type="slidenum">
              <a:rPr lang="en-GB"/>
              <a:pPr>
                <a:defRPr/>
              </a:pPr>
              <a:t>‹#›</a:t>
            </a:fld>
            <a:endParaRPr lang="en-GB"/>
          </a:p>
        </p:txBody>
      </p:sp>
    </p:spTree>
    <p:extLst>
      <p:ext uri="{BB962C8B-B14F-4D97-AF65-F5344CB8AC3E}">
        <p14:creationId xmlns:p14="http://schemas.microsoft.com/office/powerpoint/2010/main" val="3481535806"/>
      </p:ext>
    </p:extLst>
  </p:cSld>
  <p:clrMapOvr>
    <a:masterClrMapping/>
  </p:clrMapOvr>
  <p:transition spd="med">
    <p:pull/>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2 pictures">
    <p:spTree>
      <p:nvGrpSpPr>
        <p:cNvPr id="1" name=""/>
        <p:cNvGrpSpPr/>
        <p:nvPr/>
      </p:nvGrpSpPr>
      <p:grpSpPr>
        <a:xfrm>
          <a:off x="0" y="0"/>
          <a:ext cx="0" cy="0"/>
          <a:chOff x="0" y="0"/>
          <a:chExt cx="0" cy="0"/>
        </a:xfrm>
      </p:grpSpPr>
      <p:graphicFrame>
        <p:nvGraphicFramePr>
          <p:cNvPr id="8"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18986" name="think-cell Folie" r:id="rId4" imgW="360" imgH="360" progId="">
                  <p:embed/>
                </p:oleObj>
              </mc:Choice>
              <mc:Fallback>
                <p:oleObj name="think-cell Folie" r:id="rId4" imgW="360" imgH="360" progId="">
                  <p:embed/>
                  <p:pic>
                    <p:nvPicPr>
                      <p:cNvPr id="17417"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575556" y="475200"/>
            <a:ext cx="7416824" cy="360099"/>
          </a:xfrm>
        </p:spPr>
        <p:txBody>
          <a:bodyPr/>
          <a:lstStyle/>
          <a:p>
            <a:r>
              <a:rPr lang="sk-SK" noProof="0"/>
              <a:t>Upravte štýly predlohy textu</a:t>
            </a:r>
            <a:endParaRPr lang="en-GB" noProof="0"/>
          </a:p>
        </p:txBody>
      </p:sp>
      <p:sp>
        <p:nvSpPr>
          <p:cNvPr id="9" name="Bildplatzhalter 8"/>
          <p:cNvSpPr>
            <a:spLocks noGrp="1"/>
          </p:cNvSpPr>
          <p:nvPr>
            <p:ph type="pic" sz="quarter" idx="12"/>
          </p:nvPr>
        </p:nvSpPr>
        <p:spPr>
          <a:xfrm>
            <a:off x="576264" y="1736724"/>
            <a:ext cx="3563937" cy="4320613"/>
          </a:xfrm>
          <a:blipFill>
            <a:blip r:embed="rId6"/>
            <a:stretch>
              <a:fillRect/>
            </a:stretch>
          </a:blipFill>
        </p:spPr>
        <p:txBody>
          <a:bodyPr rtlCol="0">
            <a:noAutofit/>
          </a:bodyPr>
          <a:lstStyle>
            <a:lvl1pPr>
              <a:defRPr lang="de-DE" sz="1000"/>
            </a:lvl1pPr>
          </a:lstStyle>
          <a:p>
            <a:pPr lvl="0"/>
            <a:r>
              <a:rPr lang="sk-SK" noProof="0"/>
              <a:t>Ak chcete pridať obrázok, kliknite na ikonu</a:t>
            </a:r>
            <a:endParaRPr lang="en-GB" noProof="0" dirty="0"/>
          </a:p>
        </p:txBody>
      </p:sp>
      <p:sp>
        <p:nvSpPr>
          <p:cNvPr id="12" name="Textplatzhalter 2"/>
          <p:cNvSpPr>
            <a:spLocks noGrp="1"/>
          </p:cNvSpPr>
          <p:nvPr>
            <p:ph idx="13"/>
          </p:nvPr>
        </p:nvSpPr>
        <p:spPr bwMode="gray">
          <a:xfrm>
            <a:off x="575557" y="6156000"/>
            <a:ext cx="3565525" cy="184666"/>
          </a:xfrm>
          <a:prstGeom prst="rect">
            <a:avLst/>
          </a:prstGeom>
        </p:spPr>
        <p:txBody>
          <a:bodyPr rtlCol="0">
            <a:spAutoFit/>
          </a:bodyPr>
          <a:lstStyle>
            <a:lvl1pPr marL="0" indent="0">
              <a:buNone/>
              <a:defRPr sz="1200"/>
            </a:lvl1pPr>
          </a:lstStyle>
          <a:p>
            <a:pPr lvl="0"/>
            <a:r>
              <a:rPr lang="sk-SK" noProof="0"/>
              <a:t>Upraviť štýly predlohy textu</a:t>
            </a:r>
          </a:p>
        </p:txBody>
      </p:sp>
      <p:sp>
        <p:nvSpPr>
          <p:cNvPr id="13" name="Textplatzhalter 8"/>
          <p:cNvSpPr>
            <a:spLocks noGrp="1"/>
          </p:cNvSpPr>
          <p:nvPr>
            <p:ph type="body" sz="quarter" idx="14"/>
          </p:nvPr>
        </p:nvSpPr>
        <p:spPr>
          <a:xfrm>
            <a:off x="576000" y="187200"/>
            <a:ext cx="7417063" cy="215444"/>
          </a:xfrm>
        </p:spPr>
        <p:txBody>
          <a:bodyPr anchor="ctr"/>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11" name="Bildplatzhalter 8"/>
          <p:cNvSpPr>
            <a:spLocks noGrp="1"/>
          </p:cNvSpPr>
          <p:nvPr>
            <p:ph type="pic" sz="quarter" idx="15"/>
          </p:nvPr>
        </p:nvSpPr>
        <p:spPr>
          <a:xfrm>
            <a:off x="4428333" y="1736724"/>
            <a:ext cx="3563937" cy="4320613"/>
          </a:xfrm>
          <a:blipFill>
            <a:blip r:embed="rId6"/>
            <a:stretch>
              <a:fillRect/>
            </a:stretch>
          </a:blipFill>
        </p:spPr>
        <p:txBody>
          <a:bodyPr rtlCol="0">
            <a:noAutofit/>
          </a:bodyPr>
          <a:lstStyle>
            <a:lvl1pPr>
              <a:defRPr lang="de-DE" sz="1000"/>
            </a:lvl1pPr>
          </a:lstStyle>
          <a:p>
            <a:pPr lvl="0"/>
            <a:r>
              <a:rPr lang="sk-SK" noProof="0"/>
              <a:t>Ak chcete pridať obrázok, kliknite na ikonu</a:t>
            </a:r>
            <a:endParaRPr lang="en-GB" noProof="0" dirty="0"/>
          </a:p>
        </p:txBody>
      </p:sp>
      <p:sp>
        <p:nvSpPr>
          <p:cNvPr id="15" name="Textplatzhalter 2"/>
          <p:cNvSpPr>
            <a:spLocks noGrp="1"/>
          </p:cNvSpPr>
          <p:nvPr>
            <p:ph idx="16"/>
          </p:nvPr>
        </p:nvSpPr>
        <p:spPr bwMode="gray">
          <a:xfrm>
            <a:off x="4428333" y="6156000"/>
            <a:ext cx="3565525" cy="184666"/>
          </a:xfrm>
          <a:prstGeom prst="rect">
            <a:avLst/>
          </a:prstGeom>
        </p:spPr>
        <p:txBody>
          <a:bodyPr rtlCol="0">
            <a:spAutoFit/>
          </a:bodyPr>
          <a:lstStyle>
            <a:lvl1pPr marL="0" indent="0">
              <a:buNone/>
              <a:defRPr sz="1200"/>
            </a:lvl1pPr>
          </a:lstStyle>
          <a:p>
            <a:pPr lvl="0"/>
            <a:r>
              <a:rPr lang="sk-SK" noProof="0"/>
              <a:t>Upraviť štýly predlohy textu</a:t>
            </a:r>
          </a:p>
        </p:txBody>
      </p:sp>
      <p:sp>
        <p:nvSpPr>
          <p:cNvPr id="10" name="Fußzeilenplatzhalter 2"/>
          <p:cNvSpPr>
            <a:spLocks noGrp="1"/>
          </p:cNvSpPr>
          <p:nvPr>
            <p:ph type="ftr" sz="quarter" idx="17"/>
          </p:nvPr>
        </p:nvSpPr>
        <p:spPr/>
        <p:txBody>
          <a:bodyPr/>
          <a:lstStyle>
            <a:lvl1pPr>
              <a:defRPr/>
            </a:lvl1pPr>
          </a:lstStyle>
          <a:p>
            <a:pPr>
              <a:defRPr/>
            </a:pPr>
            <a:endParaRPr lang="en-GB"/>
          </a:p>
        </p:txBody>
      </p:sp>
      <p:sp>
        <p:nvSpPr>
          <p:cNvPr id="14" name="Foliennummernplatzhalter 3"/>
          <p:cNvSpPr>
            <a:spLocks noGrp="1"/>
          </p:cNvSpPr>
          <p:nvPr>
            <p:ph type="sldNum" sz="quarter" idx="18"/>
          </p:nvPr>
        </p:nvSpPr>
        <p:spPr/>
        <p:txBody>
          <a:bodyPr/>
          <a:lstStyle>
            <a:lvl1pPr>
              <a:defRPr/>
            </a:lvl1pPr>
          </a:lstStyle>
          <a:p>
            <a:pPr>
              <a:defRPr/>
            </a:pPr>
            <a:fld id="{83A5DFBB-0E7D-44FA-A75A-8F99FCDDC252}" type="slidenum">
              <a:rPr lang="en-GB"/>
              <a:pPr>
                <a:defRPr/>
              </a:pPr>
              <a:t>‹#›</a:t>
            </a:fld>
            <a:endParaRPr lang="en-GB"/>
          </a:p>
        </p:txBody>
      </p:sp>
    </p:spTree>
    <p:extLst>
      <p:ext uri="{BB962C8B-B14F-4D97-AF65-F5344CB8AC3E}">
        <p14:creationId xmlns:p14="http://schemas.microsoft.com/office/powerpoint/2010/main" val="3589039482"/>
      </p:ext>
    </p:extLst>
  </p:cSld>
  <p:clrMapOvr>
    <a:masterClrMapping/>
  </p:clrMapOvr>
  <p:transition spd="med">
    <p:pull/>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screen image bright">
    <p:spTree>
      <p:nvGrpSpPr>
        <p:cNvPr id="1" name=""/>
        <p:cNvGrpSpPr/>
        <p:nvPr/>
      </p:nvGrpSpPr>
      <p:grpSpPr>
        <a:xfrm>
          <a:off x="0" y="0"/>
          <a:ext cx="0" cy="0"/>
          <a:chOff x="0" y="0"/>
          <a:chExt cx="0" cy="0"/>
        </a:xfrm>
      </p:grpSpPr>
      <p:graphicFrame>
        <p:nvGraphicFramePr>
          <p:cNvPr id="4"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20010" name="think-cell Folie" r:id="rId4" imgW="360" imgH="360" progId="">
                  <p:embed/>
                </p:oleObj>
              </mc:Choice>
              <mc:Fallback>
                <p:oleObj name="think-cell Folie" r:id="rId4" imgW="360" imgH="360" progId="">
                  <p:embed/>
                  <p:pic>
                    <p:nvPicPr>
                      <p:cNvPr id="18441"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Bildplatzhalter 8"/>
          <p:cNvSpPr>
            <a:spLocks noGrp="1"/>
          </p:cNvSpPr>
          <p:nvPr>
            <p:ph type="pic" sz="quarter" idx="12"/>
          </p:nvPr>
        </p:nvSpPr>
        <p:spPr>
          <a:xfrm>
            <a:off x="0" y="0"/>
            <a:ext cx="9144000" cy="6858000"/>
          </a:xfrm>
          <a:blipFill>
            <a:blip r:embed="rId6"/>
            <a:stretch>
              <a:fillRect/>
            </a:stretch>
          </a:blipFill>
        </p:spPr>
        <p:txBody>
          <a:bodyPr rtlCol="0">
            <a:noAutofit/>
          </a:bodyPr>
          <a:lstStyle>
            <a:lvl1pPr marL="0" indent="0" algn="ctr">
              <a:spcBef>
                <a:spcPts val="0"/>
              </a:spcBef>
              <a:buNone/>
              <a:defRPr lang="de-DE" sz="1000"/>
            </a:lvl1pPr>
          </a:lstStyle>
          <a:p>
            <a:pPr lvl="0"/>
            <a:r>
              <a:rPr lang="sk-SK" noProof="0"/>
              <a:t>Ak chcete pridať obrázok, kliknite na ikonu</a:t>
            </a:r>
            <a:endParaRPr lang="en-GB" noProof="0" dirty="0"/>
          </a:p>
        </p:txBody>
      </p:sp>
      <p:sp>
        <p:nvSpPr>
          <p:cNvPr id="8" name="Titel 1"/>
          <p:cNvSpPr>
            <a:spLocks noGrp="1"/>
          </p:cNvSpPr>
          <p:nvPr>
            <p:ph type="ctrTitle"/>
          </p:nvPr>
        </p:nvSpPr>
        <p:spPr bwMode="gray">
          <a:xfrm>
            <a:off x="576262" y="3429000"/>
            <a:ext cx="3456000" cy="2016000"/>
          </a:xfrm>
          <a:solidFill>
            <a:srgbClr val="64B42D"/>
          </a:solidFill>
        </p:spPr>
        <p:txBody>
          <a:bodyPr lIns="216000" tIns="201600" rIns="180000" bIns="230400">
            <a:noAutofit/>
          </a:bodyPr>
          <a:lstStyle>
            <a:lvl1pPr>
              <a:defRPr sz="2000" b="0">
                <a:solidFill>
                  <a:schemeClr val="bg1"/>
                </a:solidFill>
              </a:defRPr>
            </a:lvl1pPr>
          </a:lstStyle>
          <a:p>
            <a:r>
              <a:rPr lang="sk-SK" noProof="0"/>
              <a:t>Upravte štýly predlohy textu</a:t>
            </a:r>
            <a:endParaRPr lang="en-GB" noProof="0"/>
          </a:p>
        </p:txBody>
      </p:sp>
      <p:sp>
        <p:nvSpPr>
          <p:cNvPr id="6" name="Fußzeilenplatzhalter 2"/>
          <p:cNvSpPr>
            <a:spLocks noGrp="1"/>
          </p:cNvSpPr>
          <p:nvPr>
            <p:ph type="ftr" sz="quarter" idx="13"/>
          </p:nvPr>
        </p:nvSpPr>
        <p:spPr/>
        <p:txBody>
          <a:bodyPr/>
          <a:lstStyle>
            <a:lvl1pPr>
              <a:defRPr/>
            </a:lvl1pPr>
          </a:lstStyle>
          <a:p>
            <a:pPr>
              <a:defRPr/>
            </a:pPr>
            <a:endParaRPr lang="en-GB"/>
          </a:p>
        </p:txBody>
      </p:sp>
      <p:sp>
        <p:nvSpPr>
          <p:cNvPr id="7" name="Foliennummernplatzhalter 3"/>
          <p:cNvSpPr>
            <a:spLocks noGrp="1"/>
          </p:cNvSpPr>
          <p:nvPr>
            <p:ph type="sldNum" sz="quarter" idx="14"/>
          </p:nvPr>
        </p:nvSpPr>
        <p:spPr/>
        <p:txBody>
          <a:bodyPr/>
          <a:lstStyle>
            <a:lvl1pPr>
              <a:defRPr/>
            </a:lvl1pPr>
          </a:lstStyle>
          <a:p>
            <a:pPr>
              <a:defRPr/>
            </a:pPr>
            <a:fld id="{CDADC6C5-1347-4BE4-9EEA-2446068ACA46}" type="slidenum">
              <a:rPr lang="en-GB"/>
              <a:pPr>
                <a:defRPr/>
              </a:pPr>
              <a:t>‹#›</a:t>
            </a:fld>
            <a:endParaRPr lang="en-GB"/>
          </a:p>
        </p:txBody>
      </p:sp>
    </p:spTree>
    <p:extLst>
      <p:ext uri="{BB962C8B-B14F-4D97-AF65-F5344CB8AC3E}">
        <p14:creationId xmlns:p14="http://schemas.microsoft.com/office/powerpoint/2010/main" val="617189132"/>
      </p:ext>
    </p:extLst>
  </p:cSld>
  <p:clrMapOvr>
    <a:masterClrMapping/>
  </p:clrMapOvr>
  <p:transition spd="med">
    <p:pull/>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screen image dark">
    <p:spTree>
      <p:nvGrpSpPr>
        <p:cNvPr id="1" name=""/>
        <p:cNvGrpSpPr/>
        <p:nvPr/>
      </p:nvGrpSpPr>
      <p:grpSpPr>
        <a:xfrm>
          <a:off x="0" y="0"/>
          <a:ext cx="0" cy="0"/>
          <a:chOff x="0" y="0"/>
          <a:chExt cx="0" cy="0"/>
        </a:xfrm>
      </p:grpSpPr>
      <p:graphicFrame>
        <p:nvGraphicFramePr>
          <p:cNvPr id="4"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21034" name="think-cell Folie" r:id="rId4" imgW="360" imgH="360" progId="">
                  <p:embed/>
                </p:oleObj>
              </mc:Choice>
              <mc:Fallback>
                <p:oleObj name="think-cell Folie" r:id="rId4" imgW="360" imgH="360" progId="">
                  <p:embed/>
                  <p:pic>
                    <p:nvPicPr>
                      <p:cNvPr id="19465"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Bildplatzhalter 8"/>
          <p:cNvSpPr>
            <a:spLocks noGrp="1"/>
          </p:cNvSpPr>
          <p:nvPr>
            <p:ph type="pic" sz="quarter" idx="12"/>
          </p:nvPr>
        </p:nvSpPr>
        <p:spPr>
          <a:xfrm>
            <a:off x="0" y="0"/>
            <a:ext cx="9144000" cy="6858000"/>
          </a:xfrm>
          <a:blipFill>
            <a:blip r:embed="rId6"/>
            <a:stretch>
              <a:fillRect/>
            </a:stretch>
          </a:blipFill>
        </p:spPr>
        <p:txBody>
          <a:bodyPr rtlCol="0">
            <a:noAutofit/>
          </a:bodyPr>
          <a:lstStyle>
            <a:lvl1pPr marL="0" indent="0" algn="ctr">
              <a:spcBef>
                <a:spcPts val="0"/>
              </a:spcBef>
              <a:buNone/>
              <a:defRPr lang="de-DE" sz="1000"/>
            </a:lvl1pPr>
          </a:lstStyle>
          <a:p>
            <a:pPr lvl="0"/>
            <a:r>
              <a:rPr lang="sk-SK" noProof="0"/>
              <a:t>Ak chcete pridať obrázok, kliknite na ikonu</a:t>
            </a:r>
            <a:endParaRPr lang="en-GB" noProof="0" dirty="0"/>
          </a:p>
        </p:txBody>
      </p:sp>
      <p:sp>
        <p:nvSpPr>
          <p:cNvPr id="8" name="Titel 1"/>
          <p:cNvSpPr>
            <a:spLocks noGrp="1"/>
          </p:cNvSpPr>
          <p:nvPr>
            <p:ph type="ctrTitle"/>
          </p:nvPr>
        </p:nvSpPr>
        <p:spPr bwMode="gray">
          <a:xfrm>
            <a:off x="1129904" y="1115219"/>
            <a:ext cx="2592000" cy="1440000"/>
          </a:xfrm>
          <a:solidFill>
            <a:srgbClr val="E60055"/>
          </a:solidFill>
        </p:spPr>
        <p:txBody>
          <a:bodyPr lIns="216000" tIns="201600" rIns="180000" bIns="230400">
            <a:noAutofit/>
          </a:bodyPr>
          <a:lstStyle>
            <a:lvl1pPr>
              <a:defRPr sz="1700" b="0">
                <a:solidFill>
                  <a:schemeClr val="bg1"/>
                </a:solidFill>
              </a:defRPr>
            </a:lvl1pPr>
          </a:lstStyle>
          <a:p>
            <a:r>
              <a:rPr lang="sk-SK" noProof="0"/>
              <a:t>Upravte štýly predlohy textu</a:t>
            </a:r>
            <a:endParaRPr lang="en-GB" noProof="0"/>
          </a:p>
        </p:txBody>
      </p:sp>
      <p:sp>
        <p:nvSpPr>
          <p:cNvPr id="6" name="Fußzeilenplatzhalter 2"/>
          <p:cNvSpPr>
            <a:spLocks noGrp="1"/>
          </p:cNvSpPr>
          <p:nvPr>
            <p:ph type="ftr" sz="quarter" idx="13"/>
          </p:nvPr>
        </p:nvSpPr>
        <p:spPr/>
        <p:txBody>
          <a:bodyPr/>
          <a:lstStyle>
            <a:lvl1pPr>
              <a:defRPr>
                <a:solidFill>
                  <a:schemeClr val="bg1"/>
                </a:solidFill>
              </a:defRPr>
            </a:lvl1pPr>
          </a:lstStyle>
          <a:p>
            <a:pPr>
              <a:defRPr/>
            </a:pPr>
            <a:endParaRPr lang="en-GB"/>
          </a:p>
        </p:txBody>
      </p:sp>
      <p:sp>
        <p:nvSpPr>
          <p:cNvPr id="7" name="Foliennummernplatzhalter 3"/>
          <p:cNvSpPr>
            <a:spLocks noGrp="1"/>
          </p:cNvSpPr>
          <p:nvPr>
            <p:ph type="sldNum" sz="quarter" idx="14"/>
          </p:nvPr>
        </p:nvSpPr>
        <p:spPr/>
        <p:txBody>
          <a:bodyPr/>
          <a:lstStyle>
            <a:lvl1pPr>
              <a:defRPr>
                <a:solidFill>
                  <a:schemeClr val="bg1"/>
                </a:solidFill>
              </a:defRPr>
            </a:lvl1pPr>
          </a:lstStyle>
          <a:p>
            <a:pPr>
              <a:defRPr/>
            </a:pPr>
            <a:fld id="{7F0C5C79-F4FB-4F78-A6EE-4B192F1AAB1E}" type="slidenum">
              <a:rPr lang="en-GB"/>
              <a:pPr>
                <a:defRPr/>
              </a:pPr>
              <a:t>‹#›</a:t>
            </a:fld>
            <a:endParaRPr lang="en-GB"/>
          </a:p>
        </p:txBody>
      </p:sp>
    </p:spTree>
    <p:extLst>
      <p:ext uri="{BB962C8B-B14F-4D97-AF65-F5344CB8AC3E}">
        <p14:creationId xmlns:p14="http://schemas.microsoft.com/office/powerpoint/2010/main" val="1288335751"/>
      </p:ext>
    </p:extLst>
  </p:cSld>
  <p:clrMapOvr>
    <a:masterClrMapping/>
  </p:clrMapOvr>
  <p:transition spd="med">
    <p:pull/>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pictures with 3 text boxes">
    <p:spTree>
      <p:nvGrpSpPr>
        <p:cNvPr id="1" name=""/>
        <p:cNvGrpSpPr/>
        <p:nvPr/>
      </p:nvGrpSpPr>
      <p:grpSpPr>
        <a:xfrm>
          <a:off x="0" y="0"/>
          <a:ext cx="0" cy="0"/>
          <a:chOff x="0" y="0"/>
          <a:chExt cx="0" cy="0"/>
        </a:xfrm>
      </p:grpSpPr>
      <p:graphicFrame>
        <p:nvGraphicFramePr>
          <p:cNvPr id="8"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22058" name="think-cell Folie" r:id="rId4" imgW="360" imgH="360" progId="">
                  <p:embed/>
                </p:oleObj>
              </mc:Choice>
              <mc:Fallback>
                <p:oleObj name="think-cell Folie" r:id="rId4" imgW="360" imgH="360" progId="">
                  <p:embed/>
                  <p:pic>
                    <p:nvPicPr>
                      <p:cNvPr id="20489"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Bildplatzhalter 8"/>
          <p:cNvSpPr>
            <a:spLocks noGrp="1"/>
          </p:cNvSpPr>
          <p:nvPr>
            <p:ph type="pic" sz="quarter" idx="12"/>
          </p:nvPr>
        </p:nvSpPr>
        <p:spPr>
          <a:xfrm>
            <a:off x="-4936" y="0"/>
            <a:ext cx="3060000" cy="6859200"/>
          </a:xfrm>
          <a:blipFill>
            <a:blip r:embed="rId6"/>
            <a:stretch>
              <a:fillRect/>
            </a:stretch>
          </a:blipFill>
        </p:spPr>
        <p:txBody>
          <a:bodyPr rtlCol="0">
            <a:noAutofit/>
          </a:bodyPr>
          <a:lstStyle>
            <a:lvl1pPr>
              <a:defRPr lang="de-DE" sz="1000"/>
            </a:lvl1pPr>
          </a:lstStyle>
          <a:p>
            <a:pPr lvl="0"/>
            <a:r>
              <a:rPr lang="sk-SK" noProof="0"/>
              <a:t>Ak chcete pridať obrázok, kliknite na ikonu</a:t>
            </a:r>
            <a:endParaRPr lang="en-GB" noProof="0" dirty="0"/>
          </a:p>
        </p:txBody>
      </p:sp>
      <p:sp>
        <p:nvSpPr>
          <p:cNvPr id="6" name="Bildplatzhalter 8"/>
          <p:cNvSpPr>
            <a:spLocks noGrp="1"/>
          </p:cNvSpPr>
          <p:nvPr>
            <p:ph type="pic" sz="quarter" idx="13"/>
          </p:nvPr>
        </p:nvSpPr>
        <p:spPr>
          <a:xfrm>
            <a:off x="3039532" y="0"/>
            <a:ext cx="3060000" cy="6859200"/>
          </a:xfrm>
          <a:blipFill>
            <a:blip r:embed="rId6"/>
            <a:stretch>
              <a:fillRect/>
            </a:stretch>
          </a:blipFill>
        </p:spPr>
        <p:txBody>
          <a:bodyPr rtlCol="0">
            <a:noAutofit/>
          </a:bodyPr>
          <a:lstStyle>
            <a:lvl1pPr>
              <a:defRPr lang="de-DE" sz="1000"/>
            </a:lvl1pPr>
          </a:lstStyle>
          <a:p>
            <a:pPr lvl="0"/>
            <a:r>
              <a:rPr lang="sk-SK" noProof="0"/>
              <a:t>Ak chcete pridať obrázok, kliknite na ikonu</a:t>
            </a:r>
            <a:endParaRPr lang="en-GB" noProof="0" dirty="0"/>
          </a:p>
        </p:txBody>
      </p:sp>
      <p:sp>
        <p:nvSpPr>
          <p:cNvPr id="7" name="Bildplatzhalter 8"/>
          <p:cNvSpPr>
            <a:spLocks noGrp="1"/>
          </p:cNvSpPr>
          <p:nvPr>
            <p:ph type="pic" sz="quarter" idx="14"/>
          </p:nvPr>
        </p:nvSpPr>
        <p:spPr>
          <a:xfrm>
            <a:off x="6084000" y="0"/>
            <a:ext cx="3060000" cy="6859200"/>
          </a:xfrm>
          <a:blipFill>
            <a:blip r:embed="rId6"/>
            <a:stretch>
              <a:fillRect/>
            </a:stretch>
          </a:blipFill>
        </p:spPr>
        <p:txBody>
          <a:bodyPr rtlCol="0">
            <a:noAutofit/>
          </a:bodyPr>
          <a:lstStyle>
            <a:lvl1pPr>
              <a:defRPr lang="de-DE" sz="1000"/>
            </a:lvl1pPr>
          </a:lstStyle>
          <a:p>
            <a:pPr lvl="0"/>
            <a:r>
              <a:rPr lang="sk-SK" noProof="0"/>
              <a:t>Ak chcete pridať obrázok, kliknite na ikonu</a:t>
            </a:r>
            <a:endParaRPr lang="en-GB" noProof="0" dirty="0"/>
          </a:p>
        </p:txBody>
      </p:sp>
      <p:sp>
        <p:nvSpPr>
          <p:cNvPr id="10" name="Textplatzhalter 5"/>
          <p:cNvSpPr>
            <a:spLocks noGrp="1"/>
          </p:cNvSpPr>
          <p:nvPr>
            <p:ph type="body" sz="quarter" idx="15"/>
          </p:nvPr>
        </p:nvSpPr>
        <p:spPr>
          <a:xfrm>
            <a:off x="377756" y="4725304"/>
            <a:ext cx="2304000" cy="1440000"/>
          </a:xfrm>
          <a:solidFill>
            <a:schemeClr val="accent1"/>
          </a:solidFill>
        </p:spPr>
        <p:txBody>
          <a:bodyPr lIns="216000" tIns="201600" rIns="180000" bIns="230400">
            <a:noAutofit/>
          </a:bodyPr>
          <a:lstStyle>
            <a:lvl1pPr>
              <a:defRPr sz="1200" b="0">
                <a:solidFill>
                  <a:schemeClr val="bg1"/>
                </a:solidFill>
              </a:defRPr>
            </a:lvl1pPr>
            <a:lvl4pPr>
              <a:defRPr>
                <a:solidFill>
                  <a:schemeClr val="bg1"/>
                </a:solidFill>
              </a:defRPr>
            </a:lvl4pPr>
          </a:lstStyle>
          <a:p>
            <a:pPr lvl="0"/>
            <a:r>
              <a:rPr lang="sk-SK" noProof="0"/>
              <a:t>Upraviť štýly predlohy textu</a:t>
            </a:r>
          </a:p>
        </p:txBody>
      </p:sp>
      <p:sp>
        <p:nvSpPr>
          <p:cNvPr id="13" name="Textplatzhalter 5"/>
          <p:cNvSpPr>
            <a:spLocks noGrp="1"/>
          </p:cNvSpPr>
          <p:nvPr>
            <p:ph type="body" sz="quarter" idx="17"/>
          </p:nvPr>
        </p:nvSpPr>
        <p:spPr>
          <a:xfrm>
            <a:off x="3417532" y="4725304"/>
            <a:ext cx="2304000" cy="1440000"/>
          </a:xfrm>
          <a:solidFill>
            <a:schemeClr val="accent6"/>
          </a:solidFill>
        </p:spPr>
        <p:txBody>
          <a:bodyPr lIns="216000" tIns="201600" rIns="180000" bIns="230400">
            <a:noAutofit/>
          </a:bodyPr>
          <a:lstStyle>
            <a:lvl1pPr>
              <a:defRPr sz="1200" b="0">
                <a:solidFill>
                  <a:schemeClr val="bg1"/>
                </a:solidFill>
              </a:defRPr>
            </a:lvl1pPr>
            <a:lvl4pPr>
              <a:defRPr>
                <a:solidFill>
                  <a:schemeClr val="bg1"/>
                </a:solidFill>
              </a:defRPr>
            </a:lvl4pPr>
          </a:lstStyle>
          <a:p>
            <a:pPr lvl="0"/>
            <a:r>
              <a:rPr lang="sk-SK" noProof="0"/>
              <a:t>Upraviť štýly predlohy textu</a:t>
            </a:r>
          </a:p>
        </p:txBody>
      </p:sp>
      <p:sp>
        <p:nvSpPr>
          <p:cNvPr id="15" name="Textplatzhalter 5"/>
          <p:cNvSpPr>
            <a:spLocks noGrp="1"/>
          </p:cNvSpPr>
          <p:nvPr>
            <p:ph type="body" sz="quarter" idx="18"/>
          </p:nvPr>
        </p:nvSpPr>
        <p:spPr>
          <a:xfrm>
            <a:off x="6462000" y="4725304"/>
            <a:ext cx="2304000" cy="1440000"/>
          </a:xfrm>
          <a:solidFill>
            <a:srgbClr val="64B42D"/>
          </a:solidFill>
        </p:spPr>
        <p:txBody>
          <a:bodyPr lIns="216000" tIns="201600" rIns="180000" bIns="230400">
            <a:noAutofit/>
          </a:bodyPr>
          <a:lstStyle>
            <a:lvl1pPr>
              <a:defRPr sz="1200" b="0">
                <a:solidFill>
                  <a:schemeClr val="bg1"/>
                </a:solidFill>
              </a:defRPr>
            </a:lvl1pPr>
            <a:lvl4pPr>
              <a:defRPr>
                <a:solidFill>
                  <a:schemeClr val="bg1"/>
                </a:solidFill>
              </a:defRPr>
            </a:lvl4pPr>
          </a:lstStyle>
          <a:p>
            <a:pPr lvl="0"/>
            <a:r>
              <a:rPr lang="sk-SK" noProof="0"/>
              <a:t>Upraviť štýly predlohy textu</a:t>
            </a:r>
          </a:p>
        </p:txBody>
      </p:sp>
      <p:sp>
        <p:nvSpPr>
          <p:cNvPr id="9" name="Fußzeilenplatzhalter 2"/>
          <p:cNvSpPr>
            <a:spLocks noGrp="1"/>
          </p:cNvSpPr>
          <p:nvPr>
            <p:ph type="ftr" sz="quarter" idx="19"/>
          </p:nvPr>
        </p:nvSpPr>
        <p:spPr/>
        <p:txBody>
          <a:bodyPr/>
          <a:lstStyle>
            <a:lvl1pPr>
              <a:defRPr>
                <a:solidFill>
                  <a:schemeClr val="bg1"/>
                </a:solidFill>
              </a:defRPr>
            </a:lvl1pPr>
          </a:lstStyle>
          <a:p>
            <a:pPr>
              <a:defRPr/>
            </a:pPr>
            <a:endParaRPr lang="en-GB"/>
          </a:p>
        </p:txBody>
      </p:sp>
      <p:sp>
        <p:nvSpPr>
          <p:cNvPr id="11" name="Foliennummernplatzhalter 3"/>
          <p:cNvSpPr>
            <a:spLocks noGrp="1"/>
          </p:cNvSpPr>
          <p:nvPr>
            <p:ph type="sldNum" sz="quarter" idx="20"/>
          </p:nvPr>
        </p:nvSpPr>
        <p:spPr/>
        <p:txBody>
          <a:bodyPr/>
          <a:lstStyle>
            <a:lvl1pPr>
              <a:defRPr>
                <a:solidFill>
                  <a:schemeClr val="bg1"/>
                </a:solidFill>
              </a:defRPr>
            </a:lvl1pPr>
          </a:lstStyle>
          <a:p>
            <a:pPr>
              <a:defRPr/>
            </a:pPr>
            <a:fld id="{9FBDE7B7-A71D-4C5C-8986-33F8EDABD15B}" type="slidenum">
              <a:rPr lang="en-GB"/>
              <a:pPr>
                <a:defRPr/>
              </a:pPr>
              <a:t>‹#›</a:t>
            </a:fld>
            <a:endParaRPr lang="en-GB"/>
          </a:p>
        </p:txBody>
      </p:sp>
    </p:spTree>
    <p:extLst>
      <p:ext uri="{BB962C8B-B14F-4D97-AF65-F5344CB8AC3E}">
        <p14:creationId xmlns:p14="http://schemas.microsoft.com/office/powerpoint/2010/main" val="3122625433"/>
      </p:ext>
    </p:extLst>
  </p:cSld>
  <p:clrMapOvr>
    <a:masterClrMapping/>
  </p:clrMapOvr>
  <p:transition spd="med">
    <p:pull/>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02">
    <p:spTree>
      <p:nvGrpSpPr>
        <p:cNvPr id="1" name=""/>
        <p:cNvGrpSpPr/>
        <p:nvPr/>
      </p:nvGrpSpPr>
      <p:grpSpPr>
        <a:xfrm>
          <a:off x="0" y="0"/>
          <a:ext cx="0" cy="0"/>
          <a:chOff x="0" y="0"/>
          <a:chExt cx="0" cy="0"/>
        </a:xfrm>
      </p:grpSpPr>
      <p:graphicFrame>
        <p:nvGraphicFramePr>
          <p:cNvPr id="4"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05674" name="think-cell Folie" r:id="rId4" imgW="360" imgH="360" progId="">
                  <p:embed/>
                </p:oleObj>
              </mc:Choice>
              <mc:Fallback>
                <p:oleObj name="think-cell Folie" r:id="rId4" imgW="360" imgH="360" progId="">
                  <p:embed/>
                  <p:pic>
                    <p:nvPicPr>
                      <p:cNvPr id="3074"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19"/>
          <p:cNvGrpSpPr>
            <a:grpSpLocks/>
          </p:cNvGrpSpPr>
          <p:nvPr userDrawn="1"/>
        </p:nvGrpSpPr>
        <p:grpSpPr bwMode="auto">
          <a:xfrm>
            <a:off x="576263" y="-166688"/>
            <a:ext cx="7416800" cy="144463"/>
            <a:chOff x="575556" y="-124966"/>
            <a:chExt cx="7416824" cy="108000"/>
          </a:xfrm>
        </p:grpSpPr>
        <p:sp>
          <p:nvSpPr>
            <p:cNvPr id="6"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7" name="Freihandform 21"/>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8" name="Freihandform 22"/>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9"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grpSp>
      <p:grpSp>
        <p:nvGrpSpPr>
          <p:cNvPr id="10" name="Gruppieren 30"/>
          <p:cNvGrpSpPr>
            <a:grpSpLocks/>
          </p:cNvGrpSpPr>
          <p:nvPr userDrawn="1"/>
        </p:nvGrpSpPr>
        <p:grpSpPr bwMode="auto">
          <a:xfrm>
            <a:off x="576263" y="6880225"/>
            <a:ext cx="7416800" cy="144463"/>
            <a:chOff x="575556" y="5160466"/>
            <a:chExt cx="7416824" cy="108000"/>
          </a:xfrm>
        </p:grpSpPr>
        <p:sp>
          <p:nvSpPr>
            <p:cNvPr id="11"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2" name="Freihandform 32"/>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3" name="Freihandform 33"/>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4"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grpSp>
      <p:grpSp>
        <p:nvGrpSpPr>
          <p:cNvPr id="15" name="Gruppieren 37"/>
          <p:cNvGrpSpPr>
            <a:grpSpLocks/>
          </p:cNvGrpSpPr>
          <p:nvPr userDrawn="1"/>
        </p:nvGrpSpPr>
        <p:grpSpPr bwMode="auto">
          <a:xfrm>
            <a:off x="-166688" y="1449388"/>
            <a:ext cx="144463" cy="4891087"/>
            <a:chOff x="-165953" y="1448781"/>
            <a:chExt cx="144001" cy="4891981"/>
          </a:xfrm>
        </p:grpSpPr>
        <p:sp>
          <p:nvSpPr>
            <p:cNvPr id="16" name="Freihandform 22"/>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17" name="Freihandform 23"/>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18" name="Freihandform 40"/>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grpSp>
        <p:nvGrpSpPr>
          <p:cNvPr id="19" name="Gruppieren 41"/>
          <p:cNvGrpSpPr>
            <a:grpSpLocks/>
          </p:cNvGrpSpPr>
          <p:nvPr userDrawn="1"/>
        </p:nvGrpSpPr>
        <p:grpSpPr bwMode="auto">
          <a:xfrm>
            <a:off x="9166225" y="1449388"/>
            <a:ext cx="144463" cy="4895850"/>
            <a:chOff x="9166242" y="1448781"/>
            <a:chExt cx="144000" cy="4896542"/>
          </a:xfrm>
        </p:grpSpPr>
        <p:sp>
          <p:nvSpPr>
            <p:cNvPr id="20" name="Freihandform 25"/>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21" name="Freihandform 47"/>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22" name="Freihandform 47"/>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pic>
        <p:nvPicPr>
          <p:cNvPr id="23" name="Obrázok 53"/>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61938" y="295275"/>
            <a:ext cx="592137"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Obrázok 54"/>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040438" y="1844675"/>
            <a:ext cx="1846262"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Textplatzhalter 45"/>
          <p:cNvSpPr>
            <a:spLocks noGrp="1"/>
          </p:cNvSpPr>
          <p:nvPr>
            <p:ph type="body" sz="quarter" idx="12"/>
          </p:nvPr>
        </p:nvSpPr>
        <p:spPr bwMode="gray">
          <a:xfrm>
            <a:off x="0" y="-3"/>
            <a:ext cx="9144000" cy="6858003"/>
          </a:xfrm>
          <a:solidFill>
            <a:schemeClr val="accent4"/>
          </a:solidFill>
        </p:spPr>
        <p:txBody>
          <a:bodyPr>
            <a:noAutofit/>
          </a:bodyPr>
          <a:lstStyle>
            <a:lvl1pPr marL="0" indent="0">
              <a:buNone/>
              <a:defRPr>
                <a:solidFill>
                  <a:schemeClr val="bg1"/>
                </a:solidFill>
              </a:defRPr>
            </a:lvl1pPr>
          </a:lstStyle>
          <a:p>
            <a:pPr lvl="0"/>
            <a:r>
              <a:rPr lang="sk-SK"/>
              <a:t>Upraviť štýly predlohy textu</a:t>
            </a:r>
          </a:p>
        </p:txBody>
      </p:sp>
      <p:sp>
        <p:nvSpPr>
          <p:cNvPr id="26" name="Titel 1"/>
          <p:cNvSpPr>
            <a:spLocks noGrp="1"/>
          </p:cNvSpPr>
          <p:nvPr>
            <p:ph type="ctrTitle"/>
          </p:nvPr>
        </p:nvSpPr>
        <p:spPr bwMode="gray">
          <a:xfrm>
            <a:off x="576263" y="3466800"/>
            <a:ext cx="4608000" cy="2304000"/>
          </a:xfrm>
          <a:solidFill>
            <a:schemeClr val="accent2"/>
          </a:solidFill>
        </p:spPr>
        <p:txBody>
          <a:bodyPr lIns="396000" tIns="396000" rIns="396000" bIns="432000">
            <a:noAutofit/>
          </a:bodyPr>
          <a:lstStyle>
            <a:lvl1pPr>
              <a:defRPr sz="2600" b="0">
                <a:solidFill>
                  <a:schemeClr val="bg1"/>
                </a:solidFill>
              </a:defRPr>
            </a:lvl1pPr>
          </a:lstStyle>
          <a:p>
            <a:r>
              <a:rPr lang="sk-SK" noProof="0"/>
              <a:t>Upravte štýly predlohy textu</a:t>
            </a:r>
            <a:endParaRPr lang="de-DE" noProof="0" dirty="0"/>
          </a:p>
        </p:txBody>
      </p:sp>
      <p:sp>
        <p:nvSpPr>
          <p:cNvPr id="25" name="Fußzeilenplatzhalter 4"/>
          <p:cNvSpPr>
            <a:spLocks noGrp="1"/>
          </p:cNvSpPr>
          <p:nvPr>
            <p:ph type="ftr" sz="quarter" idx="13"/>
          </p:nvPr>
        </p:nvSpPr>
        <p:spPr>
          <a:xfrm>
            <a:off x="971550" y="5421313"/>
            <a:ext cx="3240088" cy="153987"/>
          </a:xfrm>
        </p:spPr>
        <p:txBody>
          <a:bodyPr anchor="b" anchorCtr="0"/>
          <a:lstStyle>
            <a:lvl1pPr>
              <a:defRPr sz="1000">
                <a:solidFill>
                  <a:schemeClr val="bg1"/>
                </a:solidFill>
              </a:defRPr>
            </a:lvl1pPr>
          </a:lstStyle>
          <a:p>
            <a:pPr>
              <a:defRPr/>
            </a:pPr>
            <a:endParaRPr lang="de-DE"/>
          </a:p>
        </p:txBody>
      </p:sp>
    </p:spTree>
    <p:extLst>
      <p:ext uri="{BB962C8B-B14F-4D97-AF65-F5344CB8AC3E}">
        <p14:creationId xmlns:p14="http://schemas.microsoft.com/office/powerpoint/2010/main" val="1825648843"/>
      </p:ext>
    </p:extLst>
  </p:cSld>
  <p:clrMapOvr>
    <a:masterClrMapping/>
  </p:clrMapOvr>
  <p:transition spd="med">
    <p:pull/>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ummary Print">
    <p:spTree>
      <p:nvGrpSpPr>
        <p:cNvPr id="1" name=""/>
        <p:cNvGrpSpPr/>
        <p:nvPr/>
      </p:nvGrpSpPr>
      <p:grpSpPr>
        <a:xfrm>
          <a:off x="0" y="0"/>
          <a:ext cx="0" cy="0"/>
          <a:chOff x="0" y="0"/>
          <a:chExt cx="0" cy="0"/>
        </a:xfrm>
      </p:grpSpPr>
      <p:graphicFrame>
        <p:nvGraphicFramePr>
          <p:cNvPr id="7"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23082" name="think-cell Folie" r:id="rId4" imgW="360" imgH="360" progId="">
                  <p:embed/>
                </p:oleObj>
              </mc:Choice>
              <mc:Fallback>
                <p:oleObj name="think-cell Folie" r:id="rId4" imgW="360" imgH="360" progId="">
                  <p:embed/>
                  <p:pic>
                    <p:nvPicPr>
                      <p:cNvPr id="21513"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platzhalter 5"/>
          <p:cNvSpPr>
            <a:spLocks noGrp="1"/>
          </p:cNvSpPr>
          <p:nvPr>
            <p:ph type="body" sz="quarter" idx="12"/>
          </p:nvPr>
        </p:nvSpPr>
        <p:spPr>
          <a:xfrm>
            <a:off x="1249917" y="1316765"/>
            <a:ext cx="2880000" cy="1728000"/>
          </a:xfrm>
          <a:solidFill>
            <a:schemeClr val="accent1"/>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sk-SK" noProof="0"/>
              <a:t>Upraviť štýly predlohy textu</a:t>
            </a:r>
          </a:p>
        </p:txBody>
      </p:sp>
      <p:sp>
        <p:nvSpPr>
          <p:cNvPr id="11" name="Textplatzhalter 5"/>
          <p:cNvSpPr>
            <a:spLocks noGrp="1"/>
          </p:cNvSpPr>
          <p:nvPr>
            <p:ph type="body" sz="quarter" idx="13"/>
          </p:nvPr>
        </p:nvSpPr>
        <p:spPr>
          <a:xfrm>
            <a:off x="385917" y="3248980"/>
            <a:ext cx="3744000" cy="1728000"/>
          </a:xfrm>
          <a:solidFill>
            <a:schemeClr val="accent3"/>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sk-SK" noProof="0"/>
              <a:t>Upraviť štýly predlohy textu</a:t>
            </a:r>
          </a:p>
        </p:txBody>
      </p:sp>
      <p:sp>
        <p:nvSpPr>
          <p:cNvPr id="12" name="Textplatzhalter 5"/>
          <p:cNvSpPr>
            <a:spLocks noGrp="1"/>
          </p:cNvSpPr>
          <p:nvPr>
            <p:ph type="body" sz="quarter" idx="14"/>
          </p:nvPr>
        </p:nvSpPr>
        <p:spPr>
          <a:xfrm>
            <a:off x="4426987" y="1943951"/>
            <a:ext cx="2880000" cy="1728000"/>
          </a:xfrm>
          <a:solidFill>
            <a:schemeClr val="accent5"/>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sk-SK" noProof="0"/>
              <a:t>Upraviť štýly predlohy textu</a:t>
            </a:r>
          </a:p>
        </p:txBody>
      </p:sp>
      <p:sp>
        <p:nvSpPr>
          <p:cNvPr id="13" name="Textplatzhalter 5"/>
          <p:cNvSpPr>
            <a:spLocks noGrp="1"/>
          </p:cNvSpPr>
          <p:nvPr>
            <p:ph type="body" sz="quarter" idx="15"/>
          </p:nvPr>
        </p:nvSpPr>
        <p:spPr>
          <a:xfrm>
            <a:off x="4426987" y="3933056"/>
            <a:ext cx="3744000" cy="1728000"/>
          </a:xfrm>
          <a:solidFill>
            <a:srgbClr val="64B42D"/>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sk-SK" noProof="0"/>
              <a:t>Upraviť štýly predlohy textu</a:t>
            </a:r>
          </a:p>
        </p:txBody>
      </p:sp>
      <p:sp>
        <p:nvSpPr>
          <p:cNvPr id="8" name="Fußzeilenplatzhalter 2"/>
          <p:cNvSpPr>
            <a:spLocks noGrp="1"/>
          </p:cNvSpPr>
          <p:nvPr>
            <p:ph type="ftr" sz="quarter" idx="16"/>
          </p:nvPr>
        </p:nvSpPr>
        <p:spPr/>
        <p:txBody>
          <a:bodyPr/>
          <a:lstStyle>
            <a:lvl1pPr>
              <a:defRPr/>
            </a:lvl1pPr>
          </a:lstStyle>
          <a:p>
            <a:pPr>
              <a:defRPr/>
            </a:pPr>
            <a:endParaRPr lang="en-GB"/>
          </a:p>
        </p:txBody>
      </p:sp>
      <p:sp>
        <p:nvSpPr>
          <p:cNvPr id="9" name="Foliennummernplatzhalter 3"/>
          <p:cNvSpPr>
            <a:spLocks noGrp="1"/>
          </p:cNvSpPr>
          <p:nvPr>
            <p:ph type="sldNum" sz="quarter" idx="17"/>
          </p:nvPr>
        </p:nvSpPr>
        <p:spPr/>
        <p:txBody>
          <a:bodyPr/>
          <a:lstStyle>
            <a:lvl1pPr>
              <a:defRPr/>
            </a:lvl1pPr>
          </a:lstStyle>
          <a:p>
            <a:pPr>
              <a:defRPr/>
            </a:pPr>
            <a:fld id="{89FFAA61-59B7-4A2F-88FB-9496E176626F}" type="slidenum">
              <a:rPr lang="en-GB"/>
              <a:pPr>
                <a:defRPr/>
              </a:pPr>
              <a:t>‹#›</a:t>
            </a:fld>
            <a:endParaRPr lang="en-GB" dirty="0"/>
          </a:p>
        </p:txBody>
      </p:sp>
    </p:spTree>
    <p:extLst>
      <p:ext uri="{BB962C8B-B14F-4D97-AF65-F5344CB8AC3E}">
        <p14:creationId xmlns:p14="http://schemas.microsoft.com/office/powerpoint/2010/main" val="3220556055"/>
      </p:ext>
    </p:extLst>
  </p:cSld>
  <p:clrMapOvr>
    <a:masterClrMapping/>
  </p:clrMapOvr>
  <p:transition spd="med">
    <p:pull/>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ummary Screen">
    <p:spTree>
      <p:nvGrpSpPr>
        <p:cNvPr id="1" name=""/>
        <p:cNvGrpSpPr/>
        <p:nvPr/>
      </p:nvGrpSpPr>
      <p:grpSpPr>
        <a:xfrm>
          <a:off x="0" y="0"/>
          <a:ext cx="0" cy="0"/>
          <a:chOff x="0" y="0"/>
          <a:chExt cx="0" cy="0"/>
        </a:xfrm>
      </p:grpSpPr>
      <p:graphicFrame>
        <p:nvGraphicFramePr>
          <p:cNvPr id="7"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24106" name="think-cell Folie" r:id="rId4" imgW="360" imgH="360" progId="">
                  <p:embed/>
                </p:oleObj>
              </mc:Choice>
              <mc:Fallback>
                <p:oleObj name="think-cell Folie" r:id="rId4" imgW="360" imgH="360" progId="">
                  <p:embed/>
                  <p:pic>
                    <p:nvPicPr>
                      <p:cNvPr id="22537"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Textplatzhalter 45"/>
          <p:cNvSpPr>
            <a:spLocks noGrp="1"/>
          </p:cNvSpPr>
          <p:nvPr>
            <p:ph type="body" sz="quarter" idx="16"/>
          </p:nvPr>
        </p:nvSpPr>
        <p:spPr>
          <a:xfrm>
            <a:off x="0" y="-3"/>
            <a:ext cx="9144000" cy="6858003"/>
          </a:xfrm>
          <a:solidFill>
            <a:schemeClr val="tx2"/>
          </a:solidFill>
        </p:spPr>
        <p:txBody>
          <a:bodyPr>
            <a:noAutofit/>
          </a:bodyPr>
          <a:lstStyle>
            <a:lvl1pPr marL="0" indent="0">
              <a:buNone/>
              <a:defRPr>
                <a:solidFill>
                  <a:schemeClr val="bg1"/>
                </a:solidFill>
              </a:defRPr>
            </a:lvl1pPr>
          </a:lstStyle>
          <a:p>
            <a:pPr lvl="0"/>
            <a:r>
              <a:rPr lang="sk-SK"/>
              <a:t>Upraviť štýly predlohy textu</a:t>
            </a:r>
          </a:p>
        </p:txBody>
      </p:sp>
      <p:sp>
        <p:nvSpPr>
          <p:cNvPr id="10" name="Textplatzhalter 5"/>
          <p:cNvSpPr>
            <a:spLocks noGrp="1"/>
          </p:cNvSpPr>
          <p:nvPr>
            <p:ph type="body" sz="quarter" idx="12"/>
          </p:nvPr>
        </p:nvSpPr>
        <p:spPr>
          <a:xfrm>
            <a:off x="1249917" y="1316765"/>
            <a:ext cx="2880000" cy="1728000"/>
          </a:xfrm>
          <a:solidFill>
            <a:schemeClr val="accent1"/>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sk-SK" noProof="0"/>
              <a:t>Upraviť štýly predlohy textu</a:t>
            </a:r>
          </a:p>
        </p:txBody>
      </p:sp>
      <p:sp>
        <p:nvSpPr>
          <p:cNvPr id="14" name="Textplatzhalter 5"/>
          <p:cNvSpPr>
            <a:spLocks noGrp="1"/>
          </p:cNvSpPr>
          <p:nvPr>
            <p:ph type="body" sz="quarter" idx="13"/>
          </p:nvPr>
        </p:nvSpPr>
        <p:spPr>
          <a:xfrm>
            <a:off x="385917" y="3250800"/>
            <a:ext cx="3744000" cy="1728000"/>
          </a:xfrm>
          <a:solidFill>
            <a:schemeClr val="accent3"/>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sk-SK" noProof="0"/>
              <a:t>Upraviť štýly predlohy textu</a:t>
            </a:r>
          </a:p>
        </p:txBody>
      </p:sp>
      <p:sp>
        <p:nvSpPr>
          <p:cNvPr id="15" name="Textplatzhalter 5"/>
          <p:cNvSpPr>
            <a:spLocks noGrp="1"/>
          </p:cNvSpPr>
          <p:nvPr>
            <p:ph type="body" sz="quarter" idx="14"/>
          </p:nvPr>
        </p:nvSpPr>
        <p:spPr>
          <a:xfrm>
            <a:off x="4426987" y="1943951"/>
            <a:ext cx="2880000" cy="1728000"/>
          </a:xfrm>
          <a:solidFill>
            <a:schemeClr val="accent5"/>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sk-SK" noProof="0"/>
              <a:t>Upraviť štýly predlohy textu</a:t>
            </a:r>
          </a:p>
        </p:txBody>
      </p:sp>
      <p:sp>
        <p:nvSpPr>
          <p:cNvPr id="16" name="Textplatzhalter 5"/>
          <p:cNvSpPr>
            <a:spLocks noGrp="1"/>
          </p:cNvSpPr>
          <p:nvPr>
            <p:ph type="body" sz="quarter" idx="15"/>
          </p:nvPr>
        </p:nvSpPr>
        <p:spPr>
          <a:xfrm>
            <a:off x="4426987" y="3934800"/>
            <a:ext cx="3744000" cy="1728000"/>
          </a:xfrm>
          <a:solidFill>
            <a:srgbClr val="64B42D"/>
          </a:solidFill>
        </p:spPr>
        <p:txBody>
          <a:bodyPr lIns="216000" tIns="201600" rIns="180000" bIns="230400">
            <a:noAutofit/>
          </a:bodyPr>
          <a:lstStyle>
            <a:lvl1pPr>
              <a:defRPr>
                <a:solidFill>
                  <a:schemeClr val="bg1"/>
                </a:solidFill>
              </a:defRPr>
            </a:lvl1pPr>
            <a:lvl4pPr>
              <a:defRPr>
                <a:solidFill>
                  <a:schemeClr val="bg1"/>
                </a:solidFill>
              </a:defRPr>
            </a:lvl4pPr>
          </a:lstStyle>
          <a:p>
            <a:pPr lvl="0"/>
            <a:r>
              <a:rPr lang="sk-SK" noProof="0"/>
              <a:t>Upraviť štýly predlohy textu</a:t>
            </a:r>
          </a:p>
        </p:txBody>
      </p:sp>
      <p:sp>
        <p:nvSpPr>
          <p:cNvPr id="8" name="Fußzeilenplatzhalter 2"/>
          <p:cNvSpPr>
            <a:spLocks noGrp="1"/>
          </p:cNvSpPr>
          <p:nvPr>
            <p:ph type="ftr" sz="quarter" idx="17"/>
          </p:nvPr>
        </p:nvSpPr>
        <p:spPr/>
        <p:txBody>
          <a:bodyPr/>
          <a:lstStyle>
            <a:lvl1pPr>
              <a:defRPr>
                <a:solidFill>
                  <a:schemeClr val="bg1"/>
                </a:solidFill>
              </a:defRPr>
            </a:lvl1pPr>
          </a:lstStyle>
          <a:p>
            <a:pPr>
              <a:defRPr/>
            </a:pPr>
            <a:endParaRPr lang="en-GB"/>
          </a:p>
        </p:txBody>
      </p:sp>
      <p:sp>
        <p:nvSpPr>
          <p:cNvPr id="11" name="Foliennummernplatzhalter 3"/>
          <p:cNvSpPr>
            <a:spLocks noGrp="1"/>
          </p:cNvSpPr>
          <p:nvPr>
            <p:ph type="sldNum" sz="quarter" idx="18"/>
          </p:nvPr>
        </p:nvSpPr>
        <p:spPr/>
        <p:txBody>
          <a:bodyPr/>
          <a:lstStyle>
            <a:lvl1pPr>
              <a:defRPr>
                <a:solidFill>
                  <a:schemeClr val="bg1"/>
                </a:solidFill>
              </a:defRPr>
            </a:lvl1pPr>
          </a:lstStyle>
          <a:p>
            <a:pPr>
              <a:defRPr/>
            </a:pPr>
            <a:fld id="{CA7D8BAF-4BC9-4245-B087-778EE0A1CEDC}" type="slidenum">
              <a:rPr lang="en-GB"/>
              <a:pPr>
                <a:defRPr/>
              </a:pPr>
              <a:t>‹#›</a:t>
            </a:fld>
            <a:endParaRPr lang="en-GB" dirty="0"/>
          </a:p>
        </p:txBody>
      </p:sp>
    </p:spTree>
    <p:extLst>
      <p:ext uri="{BB962C8B-B14F-4D97-AF65-F5344CB8AC3E}">
        <p14:creationId xmlns:p14="http://schemas.microsoft.com/office/powerpoint/2010/main" val="4246411760"/>
      </p:ext>
    </p:extLst>
  </p:cSld>
  <p:clrMapOvr>
    <a:masterClrMapping/>
  </p:clrMapOvr>
  <p:transition spd="med">
    <p:pull/>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6"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25130" name="think-cell Folie" r:id="rId4" imgW="360" imgH="360" progId="">
                  <p:embed/>
                </p:oleObj>
              </mc:Choice>
              <mc:Fallback>
                <p:oleObj name="think-cell Folie" r:id="rId4" imgW="360" imgH="360" progId="">
                  <p:embed/>
                  <p:pic>
                    <p:nvPicPr>
                      <p:cNvPr id="23561"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p:txBody>
          <a:bodyPr/>
          <a:lstStyle/>
          <a:p>
            <a:r>
              <a:rPr lang="sk-SK" noProof="0"/>
              <a:t>Upravte štýly predlohy textu</a:t>
            </a:r>
            <a:endParaRPr lang="en-GB" noProof="0" dirty="0"/>
          </a:p>
        </p:txBody>
      </p:sp>
      <p:sp>
        <p:nvSpPr>
          <p:cNvPr id="5" name="Textplatzhalter 8"/>
          <p:cNvSpPr>
            <a:spLocks noGrp="1"/>
          </p:cNvSpPr>
          <p:nvPr>
            <p:ph type="body" sz="quarter" idx="14"/>
          </p:nvPr>
        </p:nvSpPr>
        <p:spPr>
          <a:xfrm>
            <a:off x="576000" y="187200"/>
            <a:ext cx="7417063" cy="215444"/>
          </a:xfrm>
        </p:spPr>
        <p:txBody>
          <a:bodyPr anchor="ctr"/>
          <a:lstStyle>
            <a:lvl1pPr marL="0" indent="0">
              <a:spcBef>
                <a:spcPts val="0"/>
              </a:spcBef>
              <a:buNone/>
              <a:defRPr sz="140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8" name="Textplatzhalter 5"/>
          <p:cNvSpPr>
            <a:spLocks noGrp="1"/>
          </p:cNvSpPr>
          <p:nvPr>
            <p:ph type="body" sz="quarter" idx="13"/>
          </p:nvPr>
        </p:nvSpPr>
        <p:spPr>
          <a:xfrm>
            <a:off x="574058" y="1736531"/>
            <a:ext cx="5760000" cy="1116720"/>
          </a:xfrm>
          <a:solidFill>
            <a:schemeClr val="accent3"/>
          </a:solidFill>
        </p:spPr>
        <p:txBody>
          <a:bodyPr lIns="216000" tIns="201600" rIns="180000" bIns="630000">
            <a:spAutoFit/>
          </a:bodyPr>
          <a:lstStyle>
            <a:lvl1pPr marL="0" indent="0">
              <a:buNone/>
              <a:defRPr sz="1800">
                <a:solidFill>
                  <a:schemeClr val="bg1"/>
                </a:solidFill>
              </a:defRPr>
            </a:lvl1pPr>
            <a:lvl4pPr>
              <a:defRPr>
                <a:solidFill>
                  <a:schemeClr val="bg1"/>
                </a:solidFill>
              </a:defRPr>
            </a:lvl4pPr>
          </a:lstStyle>
          <a:p>
            <a:pPr lvl="0"/>
            <a:r>
              <a:rPr lang="sk-SK" noProof="0"/>
              <a:t>Upraviť štýly predlohy textu</a:t>
            </a:r>
          </a:p>
        </p:txBody>
      </p:sp>
      <p:sp>
        <p:nvSpPr>
          <p:cNvPr id="7" name="Fußzeilenplatzhalter 2"/>
          <p:cNvSpPr>
            <a:spLocks noGrp="1"/>
          </p:cNvSpPr>
          <p:nvPr>
            <p:ph type="ftr" sz="quarter" idx="15"/>
          </p:nvPr>
        </p:nvSpPr>
        <p:spPr/>
        <p:txBody>
          <a:bodyPr/>
          <a:lstStyle>
            <a:lvl1pPr>
              <a:defRPr/>
            </a:lvl1pPr>
          </a:lstStyle>
          <a:p>
            <a:pPr>
              <a:defRPr/>
            </a:pPr>
            <a:endParaRPr lang="en-GB"/>
          </a:p>
        </p:txBody>
      </p:sp>
      <p:sp>
        <p:nvSpPr>
          <p:cNvPr id="9" name="Foliennummernplatzhalter 3"/>
          <p:cNvSpPr>
            <a:spLocks noGrp="1"/>
          </p:cNvSpPr>
          <p:nvPr>
            <p:ph type="sldNum" sz="quarter" idx="16"/>
          </p:nvPr>
        </p:nvSpPr>
        <p:spPr/>
        <p:txBody>
          <a:bodyPr/>
          <a:lstStyle>
            <a:lvl1pPr>
              <a:defRPr/>
            </a:lvl1pPr>
          </a:lstStyle>
          <a:p>
            <a:pPr>
              <a:defRPr/>
            </a:pPr>
            <a:fld id="{EDA7BC98-C3CB-4FE7-9649-B68B78551B7E}" type="slidenum">
              <a:rPr lang="en-GB"/>
              <a:pPr>
                <a:defRPr/>
              </a:pPr>
              <a:t>‹#›</a:t>
            </a:fld>
            <a:endParaRPr lang="en-GB" dirty="0"/>
          </a:p>
        </p:txBody>
      </p:sp>
    </p:spTree>
    <p:extLst>
      <p:ext uri="{BB962C8B-B14F-4D97-AF65-F5344CB8AC3E}">
        <p14:creationId xmlns:p14="http://schemas.microsoft.com/office/powerpoint/2010/main" val="2568846147"/>
      </p:ext>
    </p:extLst>
  </p:cSld>
  <p:clrMapOvr>
    <a:masterClrMapping/>
  </p:clrMapOvr>
  <p:transition spd="med">
    <p:pull/>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ázdna">
    <p:spTree>
      <p:nvGrpSpPr>
        <p:cNvPr id="1" name=""/>
        <p:cNvGrpSpPr/>
        <p:nvPr/>
      </p:nvGrpSpPr>
      <p:grpSpPr>
        <a:xfrm>
          <a:off x="0" y="0"/>
          <a:ext cx="0" cy="0"/>
          <a:chOff x="0" y="0"/>
          <a:chExt cx="0" cy="0"/>
        </a:xfrm>
      </p:grpSpPr>
      <p:sp>
        <p:nvSpPr>
          <p:cNvPr id="2" name="Fußzeilenplatzhalter 2"/>
          <p:cNvSpPr>
            <a:spLocks noGrp="1"/>
          </p:cNvSpPr>
          <p:nvPr>
            <p:ph type="ftr" sz="quarter" idx="10"/>
          </p:nvPr>
        </p:nvSpPr>
        <p:spPr/>
        <p:txBody>
          <a:bodyPr/>
          <a:lstStyle>
            <a:lvl1pPr>
              <a:defRPr/>
            </a:lvl1pPr>
          </a:lstStyle>
          <a:p>
            <a:pPr>
              <a:defRPr/>
            </a:pPr>
            <a:endParaRPr lang="en-GB"/>
          </a:p>
        </p:txBody>
      </p:sp>
      <p:sp>
        <p:nvSpPr>
          <p:cNvPr id="3" name="Foliennummernplatzhalter 3"/>
          <p:cNvSpPr>
            <a:spLocks noGrp="1"/>
          </p:cNvSpPr>
          <p:nvPr>
            <p:ph type="sldNum" sz="quarter" idx="11"/>
          </p:nvPr>
        </p:nvSpPr>
        <p:spPr/>
        <p:txBody>
          <a:bodyPr/>
          <a:lstStyle>
            <a:lvl1pPr>
              <a:defRPr/>
            </a:lvl1pPr>
          </a:lstStyle>
          <a:p>
            <a:pPr>
              <a:defRPr/>
            </a:pPr>
            <a:fld id="{62162F22-7248-4E05-B9D6-4760C944E059}" type="slidenum">
              <a:rPr lang="en-GB"/>
              <a:pPr>
                <a:defRPr/>
              </a:pPr>
              <a:t>‹#›</a:t>
            </a:fld>
            <a:endParaRPr lang="en-GB" dirty="0"/>
          </a:p>
        </p:txBody>
      </p:sp>
    </p:spTree>
    <p:extLst>
      <p:ext uri="{BB962C8B-B14F-4D97-AF65-F5344CB8AC3E}">
        <p14:creationId xmlns:p14="http://schemas.microsoft.com/office/powerpoint/2010/main" val="1890074265"/>
      </p:ext>
    </p:extLst>
  </p:cSld>
  <p:clrMapOvr>
    <a:masterClrMapping/>
  </p:clrMapOvr>
  <p:transition spd="med">
    <p:pull/>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eyword Print">
    <p:spTree>
      <p:nvGrpSpPr>
        <p:cNvPr id="1" name=""/>
        <p:cNvGrpSpPr/>
        <p:nvPr/>
      </p:nvGrpSpPr>
      <p:grpSpPr>
        <a:xfrm>
          <a:off x="0" y="0"/>
          <a:ext cx="0" cy="0"/>
          <a:chOff x="0" y="0"/>
          <a:chExt cx="0" cy="0"/>
        </a:xfrm>
      </p:grpSpPr>
      <p:graphicFrame>
        <p:nvGraphicFramePr>
          <p:cNvPr id="3"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26154" name="think-cell Folie" r:id="rId4" imgW="360" imgH="360" progId="">
                  <p:embed/>
                </p:oleObj>
              </mc:Choice>
              <mc:Fallback>
                <p:oleObj name="think-cell Folie" r:id="rId4" imgW="360" imgH="360" progId="">
                  <p:embed/>
                  <p:pic>
                    <p:nvPicPr>
                      <p:cNvPr id="25609"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1150938" y="2364499"/>
            <a:ext cx="6842125" cy="1191095"/>
          </a:xfrm>
        </p:spPr>
        <p:txBody>
          <a:bodyPr rtlCol="0"/>
          <a:lstStyle>
            <a:lvl1pPr algn="ctr">
              <a:defRPr lang="de-DE" sz="8600" b="0" cap="all" spc="300" baseline="0" dirty="0">
                <a:solidFill>
                  <a:srgbClr val="C81E82"/>
                </a:solidFill>
              </a:defRPr>
            </a:lvl1pPr>
          </a:lstStyle>
          <a:p>
            <a:pPr lvl="0"/>
            <a:r>
              <a:rPr lang="sk-SK" noProof="0"/>
              <a:t>Upravte štýly predlohy textu</a:t>
            </a:r>
            <a:endParaRPr lang="en-GB" noProof="0" dirty="0"/>
          </a:p>
        </p:txBody>
      </p:sp>
    </p:spTree>
    <p:extLst>
      <p:ext uri="{BB962C8B-B14F-4D97-AF65-F5344CB8AC3E}">
        <p14:creationId xmlns:p14="http://schemas.microsoft.com/office/powerpoint/2010/main" val="1277729137"/>
      </p:ext>
    </p:extLst>
  </p:cSld>
  <p:clrMapOvr>
    <a:masterClrMapping/>
  </p:clrMapOvr>
  <p:transition spd="med">
    <p:pull/>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eyword Screen">
    <p:spTree>
      <p:nvGrpSpPr>
        <p:cNvPr id="1" name=""/>
        <p:cNvGrpSpPr/>
        <p:nvPr/>
      </p:nvGrpSpPr>
      <p:grpSpPr>
        <a:xfrm>
          <a:off x="0" y="0"/>
          <a:ext cx="0" cy="0"/>
          <a:chOff x="0" y="0"/>
          <a:chExt cx="0" cy="0"/>
        </a:xfrm>
      </p:grpSpPr>
      <p:graphicFrame>
        <p:nvGraphicFramePr>
          <p:cNvPr id="5"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27178" name="think-cell Folie" r:id="rId4" imgW="360" imgH="360" progId="">
                  <p:embed/>
                </p:oleObj>
              </mc:Choice>
              <mc:Fallback>
                <p:oleObj name="think-cell Folie" r:id="rId4" imgW="360" imgH="360" progId="">
                  <p:embed/>
                  <p:pic>
                    <p:nvPicPr>
                      <p:cNvPr id="26633"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BlokTextu 32"/>
          <p:cNvSpPr txBox="1">
            <a:spLocks noChangeArrowheads="1"/>
          </p:cNvSpPr>
          <p:nvPr userDrawn="1"/>
        </p:nvSpPr>
        <p:spPr bwMode="auto">
          <a:xfrm>
            <a:off x="8101013" y="6381750"/>
            <a:ext cx="8636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Font typeface="Arial" panose="020B0604020202020204" pitchFamily="34" charset="0"/>
              <a:buNone/>
              <a:defRPr/>
            </a:pPr>
            <a:r>
              <a:rPr lang="sk-SK" altLang="sk-SK" sz="1100">
                <a:solidFill>
                  <a:schemeClr val="bg1"/>
                </a:solidFill>
              </a:rPr>
              <a:t>Člen </a:t>
            </a:r>
            <a:r>
              <a:rPr lang="sk-SK" altLang="sk-SK" sz="1100" b="1">
                <a:solidFill>
                  <a:schemeClr val="bg1"/>
                </a:solidFill>
              </a:rPr>
              <a:t>innogy</a:t>
            </a:r>
          </a:p>
        </p:txBody>
      </p:sp>
      <p:pic>
        <p:nvPicPr>
          <p:cNvPr id="7" name="Obrázok 35"/>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202613" y="423863"/>
            <a:ext cx="812800"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platzhalter 45"/>
          <p:cNvSpPr>
            <a:spLocks noGrp="1"/>
          </p:cNvSpPr>
          <p:nvPr>
            <p:ph type="body" sz="quarter" idx="16"/>
          </p:nvPr>
        </p:nvSpPr>
        <p:spPr>
          <a:xfrm>
            <a:off x="0" y="-3"/>
            <a:ext cx="9144000" cy="6858003"/>
          </a:xfrm>
          <a:solidFill>
            <a:schemeClr val="accent4"/>
          </a:solidFill>
        </p:spPr>
        <p:txBody>
          <a:bodyPr>
            <a:noAutofit/>
          </a:bodyPr>
          <a:lstStyle>
            <a:lvl1pPr marL="0" indent="0">
              <a:buNone/>
              <a:defRPr>
                <a:solidFill>
                  <a:schemeClr val="bg1"/>
                </a:solidFill>
              </a:defRPr>
            </a:lvl1pPr>
          </a:lstStyle>
          <a:p>
            <a:pPr lvl="0"/>
            <a:r>
              <a:rPr lang="sk-SK"/>
              <a:t>Upraviť štýly predlohy textu</a:t>
            </a:r>
          </a:p>
        </p:txBody>
      </p:sp>
      <p:sp>
        <p:nvSpPr>
          <p:cNvPr id="2" name="Titel 1"/>
          <p:cNvSpPr>
            <a:spLocks noGrp="1"/>
          </p:cNvSpPr>
          <p:nvPr>
            <p:ph type="title"/>
          </p:nvPr>
        </p:nvSpPr>
        <p:spPr>
          <a:xfrm>
            <a:off x="1150938" y="2364499"/>
            <a:ext cx="6842125" cy="1191095"/>
          </a:xfrm>
        </p:spPr>
        <p:txBody>
          <a:bodyPr/>
          <a:lstStyle>
            <a:lvl1pPr algn="ctr">
              <a:defRPr sz="8600" b="0" cap="all" spc="300" baseline="0">
                <a:solidFill>
                  <a:schemeClr val="bg1"/>
                </a:solidFill>
              </a:defRPr>
            </a:lvl1pPr>
          </a:lstStyle>
          <a:p>
            <a:r>
              <a:rPr lang="sk-SK" noProof="0"/>
              <a:t>Upravte štýly predlohy textu</a:t>
            </a:r>
            <a:endParaRPr lang="en-GB" noProof="0" dirty="0"/>
          </a:p>
        </p:txBody>
      </p:sp>
    </p:spTree>
    <p:extLst>
      <p:ext uri="{BB962C8B-B14F-4D97-AF65-F5344CB8AC3E}">
        <p14:creationId xmlns:p14="http://schemas.microsoft.com/office/powerpoint/2010/main" val="1729438317"/>
      </p:ext>
    </p:extLst>
  </p:cSld>
  <p:clrMapOvr>
    <a:masterClrMapping/>
  </p:clrMapOvr>
  <p:transition spd="med">
    <p:pull/>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graphicFrame>
        <p:nvGraphicFramePr>
          <p:cNvPr id="3"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28202" name="think-cell Folie" r:id="rId4" imgW="360" imgH="360" progId="">
                  <p:embed/>
                </p:oleObj>
              </mc:Choice>
              <mc:Fallback>
                <p:oleObj name="think-cell Folie" r:id="rId4" imgW="360" imgH="360" progId="">
                  <p:embed/>
                  <p:pic>
                    <p:nvPicPr>
                      <p:cNvPr id="27650"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uppieren 40"/>
          <p:cNvGrpSpPr>
            <a:grpSpLocks/>
          </p:cNvGrpSpPr>
          <p:nvPr userDrawn="1"/>
        </p:nvGrpSpPr>
        <p:grpSpPr bwMode="auto">
          <a:xfrm>
            <a:off x="576263" y="-166688"/>
            <a:ext cx="7416800" cy="144463"/>
            <a:chOff x="575556" y="-124966"/>
            <a:chExt cx="7416824" cy="108000"/>
          </a:xfrm>
        </p:grpSpPr>
        <p:sp>
          <p:nvSpPr>
            <p:cNvPr id="5"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6" name="Freihandform 42"/>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7" name="Freihandform 43"/>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8"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grpSp>
      <p:grpSp>
        <p:nvGrpSpPr>
          <p:cNvPr id="9" name="Gruppieren 45"/>
          <p:cNvGrpSpPr>
            <a:grpSpLocks/>
          </p:cNvGrpSpPr>
          <p:nvPr userDrawn="1"/>
        </p:nvGrpSpPr>
        <p:grpSpPr bwMode="auto">
          <a:xfrm>
            <a:off x="576263" y="6880225"/>
            <a:ext cx="7416800" cy="144463"/>
            <a:chOff x="575556" y="5160466"/>
            <a:chExt cx="7416824" cy="108000"/>
          </a:xfrm>
        </p:grpSpPr>
        <p:sp>
          <p:nvSpPr>
            <p:cNvPr id="10"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1" name="Freihandform 47"/>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2" name="Freihandform 48"/>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3"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grpSp>
      <p:grpSp>
        <p:nvGrpSpPr>
          <p:cNvPr id="14" name="Gruppieren 28"/>
          <p:cNvGrpSpPr>
            <a:grpSpLocks/>
          </p:cNvGrpSpPr>
          <p:nvPr userDrawn="1"/>
        </p:nvGrpSpPr>
        <p:grpSpPr bwMode="auto">
          <a:xfrm>
            <a:off x="-166688" y="1449388"/>
            <a:ext cx="144463" cy="4891087"/>
            <a:chOff x="-165953" y="1448781"/>
            <a:chExt cx="144001" cy="4891981"/>
          </a:xfrm>
        </p:grpSpPr>
        <p:sp>
          <p:nvSpPr>
            <p:cNvPr id="15" name="Freihandform 22"/>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16" name="Freihandform 23"/>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17" name="Freihandform 31"/>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grpSp>
        <p:nvGrpSpPr>
          <p:cNvPr id="18" name="Gruppieren 32"/>
          <p:cNvGrpSpPr>
            <a:grpSpLocks/>
          </p:cNvGrpSpPr>
          <p:nvPr userDrawn="1"/>
        </p:nvGrpSpPr>
        <p:grpSpPr bwMode="auto">
          <a:xfrm>
            <a:off x="9166225" y="1449388"/>
            <a:ext cx="144463" cy="4895850"/>
            <a:chOff x="9166242" y="1448781"/>
            <a:chExt cx="144000" cy="4896542"/>
          </a:xfrm>
        </p:grpSpPr>
        <p:sp>
          <p:nvSpPr>
            <p:cNvPr id="19" name="Freihandform 25"/>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20" name="Freihandform 47"/>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21" name="Freihandform 47"/>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pic>
        <p:nvPicPr>
          <p:cNvPr id="22" name="Obrázok 53"/>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50825" y="295275"/>
            <a:ext cx="60325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Obrázok 54"/>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040438" y="1830388"/>
            <a:ext cx="1836737" cy="100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bwMode="gray">
          <a:xfrm>
            <a:off x="568643" y="3176792"/>
            <a:ext cx="3456000" cy="1728000"/>
          </a:xfrm>
          <a:solidFill>
            <a:schemeClr val="accent3"/>
          </a:solidFill>
        </p:spPr>
        <p:txBody>
          <a:bodyPr lIns="396000" tIns="396000" rIns="396000" bIns="432000">
            <a:noAutofit/>
          </a:bodyPr>
          <a:lstStyle>
            <a:lvl1pPr>
              <a:defRPr sz="2500" b="0">
                <a:solidFill>
                  <a:schemeClr val="bg1"/>
                </a:solidFill>
              </a:defRPr>
            </a:lvl1pPr>
          </a:lstStyle>
          <a:p>
            <a:r>
              <a:rPr lang="sk-SK" noProof="0"/>
              <a:t>Upravte štýly predlohy textu</a:t>
            </a:r>
            <a:endParaRPr lang="en-GB" noProof="0" dirty="0"/>
          </a:p>
        </p:txBody>
      </p:sp>
      <p:sp>
        <p:nvSpPr>
          <p:cNvPr id="24" name="Fußzeilenplatzhalter 3"/>
          <p:cNvSpPr>
            <a:spLocks noGrp="1"/>
          </p:cNvSpPr>
          <p:nvPr>
            <p:ph type="ftr" sz="quarter" idx="10"/>
          </p:nvPr>
        </p:nvSpPr>
        <p:spPr/>
        <p:txBody>
          <a:bodyPr/>
          <a:lstStyle>
            <a:lvl1pPr>
              <a:defRPr/>
            </a:lvl1pPr>
          </a:lstStyle>
          <a:p>
            <a:pPr>
              <a:defRPr/>
            </a:pPr>
            <a:endParaRPr lang="en-GB"/>
          </a:p>
        </p:txBody>
      </p:sp>
      <p:sp>
        <p:nvSpPr>
          <p:cNvPr id="25" name="Foliennummernplatzhalter 5"/>
          <p:cNvSpPr>
            <a:spLocks noGrp="1"/>
          </p:cNvSpPr>
          <p:nvPr>
            <p:ph type="sldNum" sz="quarter" idx="11"/>
          </p:nvPr>
        </p:nvSpPr>
        <p:spPr/>
        <p:txBody>
          <a:bodyPr/>
          <a:lstStyle>
            <a:lvl1pPr>
              <a:defRPr/>
            </a:lvl1pPr>
          </a:lstStyle>
          <a:p>
            <a:pPr>
              <a:defRPr/>
            </a:pPr>
            <a:fld id="{0786904A-E31F-4176-8613-C28A31D1078C}" type="slidenum">
              <a:rPr lang="en-GB"/>
              <a:pPr>
                <a:defRPr/>
              </a:pPr>
              <a:t>‹#›</a:t>
            </a:fld>
            <a:endParaRPr lang="en-GB" dirty="0"/>
          </a:p>
        </p:txBody>
      </p:sp>
    </p:spTree>
    <p:extLst>
      <p:ext uri="{BB962C8B-B14F-4D97-AF65-F5344CB8AC3E}">
        <p14:creationId xmlns:p14="http://schemas.microsoft.com/office/powerpoint/2010/main" val="1623450628"/>
      </p:ext>
    </p:extLst>
  </p:cSld>
  <p:clrMapOvr>
    <a:masterClrMapping/>
  </p:clrMapOvr>
  <p:transition spd="med">
    <p:pull/>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act partners Print">
    <p:spTree>
      <p:nvGrpSpPr>
        <p:cNvPr id="1" name=""/>
        <p:cNvGrpSpPr/>
        <p:nvPr/>
      </p:nvGrpSpPr>
      <p:grpSpPr>
        <a:xfrm>
          <a:off x="0" y="0"/>
          <a:ext cx="0" cy="0"/>
          <a:chOff x="0" y="0"/>
          <a:chExt cx="0" cy="0"/>
        </a:xfrm>
      </p:grpSpPr>
      <p:graphicFrame>
        <p:nvGraphicFramePr>
          <p:cNvPr id="11"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29226" name="think-cell Folie" r:id="rId4" imgW="360" imgH="360" progId="">
                  <p:embed/>
                </p:oleObj>
              </mc:Choice>
              <mc:Fallback>
                <p:oleObj name="think-cell Folie" r:id="rId4" imgW="360" imgH="360" progId="">
                  <p:embed/>
                  <p:pic>
                    <p:nvPicPr>
                      <p:cNvPr id="28674"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2" name="Gruppieren 40"/>
          <p:cNvGrpSpPr>
            <a:grpSpLocks/>
          </p:cNvGrpSpPr>
          <p:nvPr userDrawn="1"/>
        </p:nvGrpSpPr>
        <p:grpSpPr bwMode="auto">
          <a:xfrm>
            <a:off x="576263" y="-166688"/>
            <a:ext cx="7416800" cy="144463"/>
            <a:chOff x="575556" y="-124966"/>
            <a:chExt cx="7416824" cy="108000"/>
          </a:xfrm>
        </p:grpSpPr>
        <p:sp>
          <p:nvSpPr>
            <p:cNvPr id="13"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14" name="Freihandform 42"/>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15" name="Freihandform 43"/>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16"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grpSp>
      <p:grpSp>
        <p:nvGrpSpPr>
          <p:cNvPr id="17" name="Gruppieren 45"/>
          <p:cNvGrpSpPr>
            <a:grpSpLocks/>
          </p:cNvGrpSpPr>
          <p:nvPr userDrawn="1"/>
        </p:nvGrpSpPr>
        <p:grpSpPr bwMode="auto">
          <a:xfrm>
            <a:off x="576263" y="6880225"/>
            <a:ext cx="7416800" cy="144463"/>
            <a:chOff x="575556" y="5160466"/>
            <a:chExt cx="7416824" cy="108000"/>
          </a:xfrm>
        </p:grpSpPr>
        <p:sp>
          <p:nvSpPr>
            <p:cNvPr id="18"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9" name="Freihandform 47"/>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20" name="Freihandform 48"/>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21"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grpSp>
      <p:grpSp>
        <p:nvGrpSpPr>
          <p:cNvPr id="22" name="Gruppieren 37"/>
          <p:cNvGrpSpPr>
            <a:grpSpLocks/>
          </p:cNvGrpSpPr>
          <p:nvPr userDrawn="1"/>
        </p:nvGrpSpPr>
        <p:grpSpPr bwMode="auto">
          <a:xfrm>
            <a:off x="-166688" y="1449388"/>
            <a:ext cx="144463" cy="4891087"/>
            <a:chOff x="-165953" y="1448781"/>
            <a:chExt cx="144001" cy="4891981"/>
          </a:xfrm>
        </p:grpSpPr>
        <p:sp>
          <p:nvSpPr>
            <p:cNvPr id="32" name="Freihandform 22"/>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33" name="Freihandform 23"/>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34" name="Freihandform 50"/>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grpSp>
        <p:nvGrpSpPr>
          <p:cNvPr id="35" name="Gruppieren 51"/>
          <p:cNvGrpSpPr>
            <a:grpSpLocks/>
          </p:cNvGrpSpPr>
          <p:nvPr userDrawn="1"/>
        </p:nvGrpSpPr>
        <p:grpSpPr bwMode="auto">
          <a:xfrm>
            <a:off x="9166225" y="1449388"/>
            <a:ext cx="144463" cy="4895850"/>
            <a:chOff x="9166242" y="1448781"/>
            <a:chExt cx="144000" cy="4896542"/>
          </a:xfrm>
        </p:grpSpPr>
        <p:sp>
          <p:nvSpPr>
            <p:cNvPr id="36" name="Freihandform 25"/>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37" name="Freihandform 47"/>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38" name="Freihandform 47"/>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pic>
        <p:nvPicPr>
          <p:cNvPr id="39" name="Obrázok 53"/>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50825" y="295275"/>
            <a:ext cx="60325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Obrázok 54"/>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040438" y="1830388"/>
            <a:ext cx="1836737" cy="100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itel 1"/>
          <p:cNvSpPr>
            <a:spLocks noGrp="1"/>
          </p:cNvSpPr>
          <p:nvPr>
            <p:ph type="ctrTitle"/>
          </p:nvPr>
        </p:nvSpPr>
        <p:spPr bwMode="gray">
          <a:xfrm>
            <a:off x="569092" y="1909557"/>
            <a:ext cx="3456000" cy="3456000"/>
          </a:xfrm>
          <a:solidFill>
            <a:schemeClr val="accent3"/>
          </a:solidFill>
        </p:spPr>
        <p:txBody>
          <a:bodyPr lIns="360000" tIns="360000" rIns="270000" bIns="270000">
            <a:noAutofit/>
          </a:bodyPr>
          <a:lstStyle>
            <a:lvl1pPr>
              <a:defRPr sz="2400">
                <a:solidFill>
                  <a:schemeClr val="bg1"/>
                </a:solidFill>
              </a:defRPr>
            </a:lvl1pPr>
          </a:lstStyle>
          <a:p>
            <a:r>
              <a:rPr lang="sk-SK" noProof="0"/>
              <a:t>Upravte štýly predlohy textu</a:t>
            </a:r>
            <a:endParaRPr lang="en-GB" noProof="0" dirty="0"/>
          </a:p>
        </p:txBody>
      </p:sp>
      <p:sp>
        <p:nvSpPr>
          <p:cNvPr id="24" name="Textplatzhalter 8"/>
          <p:cNvSpPr>
            <a:spLocks noGrp="1"/>
          </p:cNvSpPr>
          <p:nvPr>
            <p:ph type="body" sz="quarter" idx="13"/>
          </p:nvPr>
        </p:nvSpPr>
        <p:spPr bwMode="gray">
          <a:xfrm>
            <a:off x="569092" y="2831538"/>
            <a:ext cx="3420000" cy="184666"/>
          </a:xfrm>
        </p:spPr>
        <p:txBody>
          <a:bodyPr lIns="360000" rIns="270000" anchor="ctr"/>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25" name="Textplatzhalter 8"/>
          <p:cNvSpPr>
            <a:spLocks noGrp="1"/>
          </p:cNvSpPr>
          <p:nvPr>
            <p:ph type="body" sz="quarter" idx="14"/>
          </p:nvPr>
        </p:nvSpPr>
        <p:spPr bwMode="gray">
          <a:xfrm>
            <a:off x="569092" y="3848013"/>
            <a:ext cx="3420000" cy="184666"/>
          </a:xfrm>
        </p:spPr>
        <p:txBody>
          <a:bodyPr lIns="360000" rIns="270000" anchor="ctr"/>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26" name="Textplatzhalter 8"/>
          <p:cNvSpPr>
            <a:spLocks noGrp="1"/>
          </p:cNvSpPr>
          <p:nvPr>
            <p:ph type="body" sz="quarter" idx="15"/>
          </p:nvPr>
        </p:nvSpPr>
        <p:spPr bwMode="gray">
          <a:xfrm>
            <a:off x="569092" y="3064002"/>
            <a:ext cx="3420000" cy="184666"/>
          </a:xfrm>
        </p:spPr>
        <p:txBody>
          <a:bodyPr lIns="360000" rIns="270000" anchor="ctr"/>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27" name="Textplatzhalter 8"/>
          <p:cNvSpPr>
            <a:spLocks noGrp="1"/>
          </p:cNvSpPr>
          <p:nvPr>
            <p:ph type="body" sz="quarter" idx="16"/>
          </p:nvPr>
        </p:nvSpPr>
        <p:spPr bwMode="gray">
          <a:xfrm>
            <a:off x="569092" y="3262910"/>
            <a:ext cx="3420000" cy="184666"/>
          </a:xfrm>
        </p:spPr>
        <p:txBody>
          <a:bodyPr lIns="360000" rIns="270000" anchor="ctr"/>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28" name="Textplatzhalter 8"/>
          <p:cNvSpPr>
            <a:spLocks noGrp="1"/>
          </p:cNvSpPr>
          <p:nvPr>
            <p:ph type="body" sz="quarter" idx="17"/>
          </p:nvPr>
        </p:nvSpPr>
        <p:spPr bwMode="gray">
          <a:xfrm>
            <a:off x="569092" y="3461818"/>
            <a:ext cx="3420000" cy="184666"/>
          </a:xfrm>
        </p:spPr>
        <p:txBody>
          <a:bodyPr lIns="360000" rIns="270000" anchor="ctr"/>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29" name="Textplatzhalter 8"/>
          <p:cNvSpPr>
            <a:spLocks noGrp="1"/>
          </p:cNvSpPr>
          <p:nvPr>
            <p:ph type="body" sz="quarter" idx="18"/>
          </p:nvPr>
        </p:nvSpPr>
        <p:spPr bwMode="gray">
          <a:xfrm>
            <a:off x="569092" y="4051604"/>
            <a:ext cx="3420000" cy="184666"/>
          </a:xfrm>
        </p:spPr>
        <p:txBody>
          <a:bodyPr lIns="360000" rIns="270000" anchor="ctr"/>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30" name="Textplatzhalter 8"/>
          <p:cNvSpPr>
            <a:spLocks noGrp="1"/>
          </p:cNvSpPr>
          <p:nvPr>
            <p:ph type="body" sz="quarter" idx="19"/>
          </p:nvPr>
        </p:nvSpPr>
        <p:spPr bwMode="gray">
          <a:xfrm>
            <a:off x="569092" y="4255195"/>
            <a:ext cx="3420000" cy="184666"/>
          </a:xfrm>
        </p:spPr>
        <p:txBody>
          <a:bodyPr lIns="360000" rIns="270000" anchor="ctr"/>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31" name="Textplatzhalter 8"/>
          <p:cNvSpPr>
            <a:spLocks noGrp="1"/>
          </p:cNvSpPr>
          <p:nvPr>
            <p:ph type="body" sz="quarter" idx="20"/>
          </p:nvPr>
        </p:nvSpPr>
        <p:spPr bwMode="gray">
          <a:xfrm>
            <a:off x="569092" y="4458786"/>
            <a:ext cx="3420000" cy="184666"/>
          </a:xfrm>
        </p:spPr>
        <p:txBody>
          <a:bodyPr lIns="360000" rIns="270000" anchor="ctr"/>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41" name="Fußzeilenplatzhalter 3"/>
          <p:cNvSpPr>
            <a:spLocks noGrp="1"/>
          </p:cNvSpPr>
          <p:nvPr>
            <p:ph type="ftr" sz="quarter" idx="21"/>
          </p:nvPr>
        </p:nvSpPr>
        <p:spPr/>
        <p:txBody>
          <a:bodyPr/>
          <a:lstStyle>
            <a:lvl1pPr>
              <a:defRPr/>
            </a:lvl1pPr>
          </a:lstStyle>
          <a:p>
            <a:pPr>
              <a:defRPr/>
            </a:pPr>
            <a:endParaRPr lang="en-GB"/>
          </a:p>
        </p:txBody>
      </p:sp>
      <p:sp>
        <p:nvSpPr>
          <p:cNvPr id="42" name="Foliennummernplatzhalter 5"/>
          <p:cNvSpPr>
            <a:spLocks noGrp="1"/>
          </p:cNvSpPr>
          <p:nvPr>
            <p:ph type="sldNum" sz="quarter" idx="22"/>
          </p:nvPr>
        </p:nvSpPr>
        <p:spPr/>
        <p:txBody>
          <a:bodyPr/>
          <a:lstStyle>
            <a:lvl1pPr>
              <a:defRPr/>
            </a:lvl1pPr>
          </a:lstStyle>
          <a:p>
            <a:pPr>
              <a:defRPr/>
            </a:pPr>
            <a:fld id="{C83D0803-F481-495F-9107-BE6DF7675853}" type="slidenum">
              <a:rPr lang="en-GB"/>
              <a:pPr>
                <a:defRPr/>
              </a:pPr>
              <a:t>‹#›</a:t>
            </a:fld>
            <a:endParaRPr lang="en-GB" dirty="0"/>
          </a:p>
        </p:txBody>
      </p:sp>
    </p:spTree>
    <p:extLst>
      <p:ext uri="{BB962C8B-B14F-4D97-AF65-F5344CB8AC3E}">
        <p14:creationId xmlns:p14="http://schemas.microsoft.com/office/powerpoint/2010/main" val="69881669"/>
      </p:ext>
    </p:extLst>
  </p:cSld>
  <p:clrMapOvr>
    <a:masterClrMapping/>
  </p:clrMapOvr>
  <p:transition spd="med">
    <p:pull/>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Final slide Screen">
    <p:spTree>
      <p:nvGrpSpPr>
        <p:cNvPr id="1" name=""/>
        <p:cNvGrpSpPr/>
        <p:nvPr/>
      </p:nvGrpSpPr>
      <p:grpSpPr>
        <a:xfrm>
          <a:off x="0" y="0"/>
          <a:ext cx="0" cy="0"/>
          <a:chOff x="0" y="0"/>
          <a:chExt cx="0" cy="0"/>
        </a:xfrm>
      </p:grpSpPr>
      <p:graphicFrame>
        <p:nvGraphicFramePr>
          <p:cNvPr id="4"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30250" name="think-cell Folie" r:id="rId4" imgW="360" imgH="360" progId="">
                  <p:embed/>
                </p:oleObj>
              </mc:Choice>
              <mc:Fallback>
                <p:oleObj name="think-cell Folie" r:id="rId4" imgW="360" imgH="360" progId="">
                  <p:embed/>
                  <p:pic>
                    <p:nvPicPr>
                      <p:cNvPr id="29698"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40"/>
          <p:cNvGrpSpPr>
            <a:grpSpLocks/>
          </p:cNvGrpSpPr>
          <p:nvPr userDrawn="1"/>
        </p:nvGrpSpPr>
        <p:grpSpPr bwMode="auto">
          <a:xfrm>
            <a:off x="576263" y="-166688"/>
            <a:ext cx="7416800" cy="144463"/>
            <a:chOff x="575556" y="-124966"/>
            <a:chExt cx="7416824" cy="108000"/>
          </a:xfrm>
        </p:grpSpPr>
        <p:sp>
          <p:nvSpPr>
            <p:cNvPr id="6"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7" name="Freihandform 42"/>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8" name="Freihandform 43"/>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9"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grpSp>
      <p:grpSp>
        <p:nvGrpSpPr>
          <p:cNvPr id="10" name="Gruppieren 45"/>
          <p:cNvGrpSpPr>
            <a:grpSpLocks/>
          </p:cNvGrpSpPr>
          <p:nvPr userDrawn="1"/>
        </p:nvGrpSpPr>
        <p:grpSpPr bwMode="auto">
          <a:xfrm>
            <a:off x="576263" y="6880225"/>
            <a:ext cx="7416800" cy="144463"/>
            <a:chOff x="575556" y="5160466"/>
            <a:chExt cx="7416824" cy="108000"/>
          </a:xfrm>
        </p:grpSpPr>
        <p:sp>
          <p:nvSpPr>
            <p:cNvPr id="11"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2" name="Freihandform 47"/>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3" name="Freihandform 48"/>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4"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grpSp>
      <p:grpSp>
        <p:nvGrpSpPr>
          <p:cNvPr id="15" name="Gruppieren 28"/>
          <p:cNvGrpSpPr>
            <a:grpSpLocks/>
          </p:cNvGrpSpPr>
          <p:nvPr userDrawn="1"/>
        </p:nvGrpSpPr>
        <p:grpSpPr bwMode="auto">
          <a:xfrm>
            <a:off x="-166688" y="1449388"/>
            <a:ext cx="144463" cy="4891087"/>
            <a:chOff x="-165953" y="1448781"/>
            <a:chExt cx="144001" cy="4891981"/>
          </a:xfrm>
        </p:grpSpPr>
        <p:sp>
          <p:nvSpPr>
            <p:cNvPr id="16" name="Freihandform 22"/>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17" name="Freihandform 23"/>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18" name="Freihandform 31"/>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grpSp>
        <p:nvGrpSpPr>
          <p:cNvPr id="19" name="Gruppieren 32"/>
          <p:cNvGrpSpPr>
            <a:grpSpLocks/>
          </p:cNvGrpSpPr>
          <p:nvPr userDrawn="1"/>
        </p:nvGrpSpPr>
        <p:grpSpPr bwMode="auto">
          <a:xfrm>
            <a:off x="9166225" y="1449388"/>
            <a:ext cx="144463" cy="4895850"/>
            <a:chOff x="9166242" y="1448781"/>
            <a:chExt cx="144000" cy="4896542"/>
          </a:xfrm>
        </p:grpSpPr>
        <p:sp>
          <p:nvSpPr>
            <p:cNvPr id="20" name="Freihandform 25"/>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21" name="Freihandform 47"/>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22" name="Freihandform 47"/>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pic>
        <p:nvPicPr>
          <p:cNvPr id="24" name="Obrázok 53"/>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61938" y="295275"/>
            <a:ext cx="592137"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Obrázok 54"/>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040438" y="1844675"/>
            <a:ext cx="1846262"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platzhalter 45"/>
          <p:cNvSpPr>
            <a:spLocks noGrp="1"/>
          </p:cNvSpPr>
          <p:nvPr>
            <p:ph type="body" sz="quarter" idx="16"/>
          </p:nvPr>
        </p:nvSpPr>
        <p:spPr>
          <a:xfrm>
            <a:off x="0" y="-3"/>
            <a:ext cx="9144000" cy="6858003"/>
          </a:xfrm>
          <a:solidFill>
            <a:schemeClr val="accent4"/>
          </a:solidFill>
        </p:spPr>
        <p:txBody>
          <a:bodyPr>
            <a:noAutofit/>
          </a:bodyPr>
          <a:lstStyle>
            <a:lvl1pPr marL="0" indent="0">
              <a:buNone/>
              <a:defRPr>
                <a:solidFill>
                  <a:schemeClr val="bg1"/>
                </a:solidFill>
              </a:defRPr>
            </a:lvl1pPr>
          </a:lstStyle>
          <a:p>
            <a:pPr lvl="0"/>
            <a:r>
              <a:rPr lang="sk-SK"/>
              <a:t>Upraviť štýly predlohy textu</a:t>
            </a:r>
          </a:p>
        </p:txBody>
      </p:sp>
      <p:sp>
        <p:nvSpPr>
          <p:cNvPr id="2" name="Titel 1"/>
          <p:cNvSpPr>
            <a:spLocks noGrp="1"/>
          </p:cNvSpPr>
          <p:nvPr>
            <p:ph type="ctrTitle"/>
          </p:nvPr>
        </p:nvSpPr>
        <p:spPr bwMode="gray">
          <a:xfrm>
            <a:off x="568643" y="3176792"/>
            <a:ext cx="3456000" cy="1728000"/>
          </a:xfrm>
          <a:solidFill>
            <a:srgbClr val="E60055"/>
          </a:solidFill>
        </p:spPr>
        <p:txBody>
          <a:bodyPr lIns="396000" tIns="396000" rIns="396000" bIns="432000">
            <a:noAutofit/>
          </a:bodyPr>
          <a:lstStyle>
            <a:lvl1pPr>
              <a:defRPr sz="2500" b="0">
                <a:solidFill>
                  <a:schemeClr val="bg1"/>
                </a:solidFill>
              </a:defRPr>
            </a:lvl1pPr>
          </a:lstStyle>
          <a:p>
            <a:r>
              <a:rPr lang="sk-SK" noProof="0"/>
              <a:t>Upravte štýly predlohy textu</a:t>
            </a:r>
            <a:endParaRPr lang="en-GB" noProof="0" dirty="0"/>
          </a:p>
        </p:txBody>
      </p:sp>
      <p:sp>
        <p:nvSpPr>
          <p:cNvPr id="26" name="Fußzeilenplatzhalter 3"/>
          <p:cNvSpPr>
            <a:spLocks noGrp="1"/>
          </p:cNvSpPr>
          <p:nvPr>
            <p:ph type="ftr" sz="quarter" idx="17"/>
          </p:nvPr>
        </p:nvSpPr>
        <p:spPr/>
        <p:txBody>
          <a:bodyPr/>
          <a:lstStyle>
            <a:lvl1pPr>
              <a:defRPr>
                <a:solidFill>
                  <a:schemeClr val="bg1"/>
                </a:solidFill>
              </a:defRPr>
            </a:lvl1pPr>
          </a:lstStyle>
          <a:p>
            <a:pPr>
              <a:defRPr/>
            </a:pPr>
            <a:endParaRPr lang="en-GB"/>
          </a:p>
        </p:txBody>
      </p:sp>
    </p:spTree>
    <p:extLst>
      <p:ext uri="{BB962C8B-B14F-4D97-AF65-F5344CB8AC3E}">
        <p14:creationId xmlns:p14="http://schemas.microsoft.com/office/powerpoint/2010/main" val="2959346482"/>
      </p:ext>
    </p:extLst>
  </p:cSld>
  <p:clrMapOvr>
    <a:masterClrMapping/>
  </p:clrMapOvr>
  <p:transition spd="med">
    <p:pull/>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act partners Screen">
    <p:spTree>
      <p:nvGrpSpPr>
        <p:cNvPr id="1" name=""/>
        <p:cNvGrpSpPr/>
        <p:nvPr/>
      </p:nvGrpSpPr>
      <p:grpSpPr>
        <a:xfrm>
          <a:off x="0" y="0"/>
          <a:ext cx="0" cy="0"/>
          <a:chOff x="0" y="0"/>
          <a:chExt cx="0" cy="0"/>
        </a:xfrm>
      </p:grpSpPr>
      <p:graphicFrame>
        <p:nvGraphicFramePr>
          <p:cNvPr id="12"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31274" name="think-cell Folie" r:id="rId4" imgW="360" imgH="360" progId="">
                  <p:embed/>
                </p:oleObj>
              </mc:Choice>
              <mc:Fallback>
                <p:oleObj name="think-cell Folie" r:id="rId4" imgW="360" imgH="360" progId="">
                  <p:embed/>
                  <p:pic>
                    <p:nvPicPr>
                      <p:cNvPr id="30722"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3" name="Gruppieren 40"/>
          <p:cNvGrpSpPr>
            <a:grpSpLocks/>
          </p:cNvGrpSpPr>
          <p:nvPr userDrawn="1"/>
        </p:nvGrpSpPr>
        <p:grpSpPr bwMode="auto">
          <a:xfrm>
            <a:off x="576263" y="-166688"/>
            <a:ext cx="7416800" cy="144463"/>
            <a:chOff x="575556" y="-124966"/>
            <a:chExt cx="7416824" cy="108000"/>
          </a:xfrm>
        </p:grpSpPr>
        <p:sp>
          <p:nvSpPr>
            <p:cNvPr id="14"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15" name="Freihandform 42"/>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16" name="Freihandform 43"/>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17"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grpSp>
      <p:grpSp>
        <p:nvGrpSpPr>
          <p:cNvPr id="18" name="Gruppieren 45"/>
          <p:cNvGrpSpPr>
            <a:grpSpLocks/>
          </p:cNvGrpSpPr>
          <p:nvPr userDrawn="1"/>
        </p:nvGrpSpPr>
        <p:grpSpPr bwMode="auto">
          <a:xfrm>
            <a:off x="576263" y="6880225"/>
            <a:ext cx="7416800" cy="144463"/>
            <a:chOff x="575556" y="5160466"/>
            <a:chExt cx="7416824" cy="108000"/>
          </a:xfrm>
        </p:grpSpPr>
        <p:sp>
          <p:nvSpPr>
            <p:cNvPr id="19"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20" name="Freihandform 47"/>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21" name="Freihandform 48"/>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22"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grpSp>
      <p:grpSp>
        <p:nvGrpSpPr>
          <p:cNvPr id="33" name="Gruppieren 38"/>
          <p:cNvGrpSpPr>
            <a:grpSpLocks/>
          </p:cNvGrpSpPr>
          <p:nvPr userDrawn="1"/>
        </p:nvGrpSpPr>
        <p:grpSpPr bwMode="auto">
          <a:xfrm>
            <a:off x="-166688" y="1449388"/>
            <a:ext cx="144463" cy="4891087"/>
            <a:chOff x="-165953" y="1448781"/>
            <a:chExt cx="144001" cy="4891981"/>
          </a:xfrm>
        </p:grpSpPr>
        <p:sp>
          <p:nvSpPr>
            <p:cNvPr id="34" name="Freihandform 22"/>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35" name="Freihandform 23"/>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36" name="Freihandform 51"/>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grpSp>
        <p:nvGrpSpPr>
          <p:cNvPr id="37" name="Gruppieren 52"/>
          <p:cNvGrpSpPr>
            <a:grpSpLocks/>
          </p:cNvGrpSpPr>
          <p:nvPr userDrawn="1"/>
        </p:nvGrpSpPr>
        <p:grpSpPr bwMode="auto">
          <a:xfrm>
            <a:off x="9166225" y="1449388"/>
            <a:ext cx="144463" cy="4895850"/>
            <a:chOff x="9166242" y="1448781"/>
            <a:chExt cx="144000" cy="4896542"/>
          </a:xfrm>
        </p:grpSpPr>
        <p:sp>
          <p:nvSpPr>
            <p:cNvPr id="38" name="Freihandform 25"/>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39" name="Freihandform 47"/>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40" name="Freihandform 47"/>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pic>
        <p:nvPicPr>
          <p:cNvPr id="41" name="Obrázok 53"/>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61938" y="295275"/>
            <a:ext cx="592137"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Obrázok 54"/>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040438" y="1844675"/>
            <a:ext cx="1846262"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Textplatzhalter 45"/>
          <p:cNvSpPr>
            <a:spLocks noGrp="1"/>
          </p:cNvSpPr>
          <p:nvPr>
            <p:ph type="body" sz="quarter" idx="21"/>
          </p:nvPr>
        </p:nvSpPr>
        <p:spPr bwMode="gray">
          <a:xfrm>
            <a:off x="0" y="-3"/>
            <a:ext cx="9144000" cy="6859200"/>
          </a:xfrm>
          <a:solidFill>
            <a:schemeClr val="accent4"/>
          </a:solidFill>
        </p:spPr>
        <p:txBody>
          <a:bodyPr>
            <a:noAutofit/>
          </a:bodyPr>
          <a:lstStyle>
            <a:lvl1pPr marL="0" indent="0">
              <a:buNone/>
              <a:defRPr>
                <a:solidFill>
                  <a:schemeClr val="bg1"/>
                </a:solidFill>
              </a:defRPr>
            </a:lvl1pPr>
          </a:lstStyle>
          <a:p>
            <a:pPr lvl="0"/>
            <a:r>
              <a:rPr lang="sk-SK"/>
              <a:t>Upraviť štýly predlohy textu</a:t>
            </a:r>
          </a:p>
        </p:txBody>
      </p:sp>
      <p:sp>
        <p:nvSpPr>
          <p:cNvPr id="23" name="Titel 1"/>
          <p:cNvSpPr>
            <a:spLocks noGrp="1"/>
          </p:cNvSpPr>
          <p:nvPr>
            <p:ph type="ctrTitle"/>
          </p:nvPr>
        </p:nvSpPr>
        <p:spPr bwMode="gray">
          <a:xfrm>
            <a:off x="569092" y="1909557"/>
            <a:ext cx="3456000" cy="3456000"/>
          </a:xfrm>
          <a:solidFill>
            <a:srgbClr val="E60055"/>
          </a:solidFill>
        </p:spPr>
        <p:txBody>
          <a:bodyPr lIns="360000" tIns="360000" rIns="270000" bIns="270000">
            <a:noAutofit/>
          </a:bodyPr>
          <a:lstStyle>
            <a:lvl1pPr>
              <a:defRPr sz="2400">
                <a:solidFill>
                  <a:schemeClr val="bg1"/>
                </a:solidFill>
              </a:defRPr>
            </a:lvl1pPr>
          </a:lstStyle>
          <a:p>
            <a:r>
              <a:rPr lang="sk-SK" noProof="0"/>
              <a:t>Upravte štýly predlohy textu</a:t>
            </a:r>
            <a:endParaRPr lang="en-GB" noProof="0" dirty="0"/>
          </a:p>
        </p:txBody>
      </p:sp>
      <p:sp>
        <p:nvSpPr>
          <p:cNvPr id="24" name="Textplatzhalter 8"/>
          <p:cNvSpPr>
            <a:spLocks noGrp="1"/>
          </p:cNvSpPr>
          <p:nvPr>
            <p:ph type="body" sz="quarter" idx="13"/>
          </p:nvPr>
        </p:nvSpPr>
        <p:spPr bwMode="gray">
          <a:xfrm>
            <a:off x="569092" y="2833200"/>
            <a:ext cx="3420000" cy="184666"/>
          </a:xfrm>
        </p:spPr>
        <p:txBody>
          <a:bodyPr lIns="360000" rIns="270000" anchor="ctr"/>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25" name="Textplatzhalter 8"/>
          <p:cNvSpPr>
            <a:spLocks noGrp="1"/>
          </p:cNvSpPr>
          <p:nvPr>
            <p:ph type="body" sz="quarter" idx="14"/>
          </p:nvPr>
        </p:nvSpPr>
        <p:spPr bwMode="gray">
          <a:xfrm>
            <a:off x="569092" y="3848400"/>
            <a:ext cx="3420000" cy="184666"/>
          </a:xfrm>
        </p:spPr>
        <p:txBody>
          <a:bodyPr lIns="360000" rIns="270000" anchor="ctr"/>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26" name="Textplatzhalter 8"/>
          <p:cNvSpPr>
            <a:spLocks noGrp="1"/>
          </p:cNvSpPr>
          <p:nvPr>
            <p:ph type="body" sz="quarter" idx="15"/>
          </p:nvPr>
        </p:nvSpPr>
        <p:spPr bwMode="gray">
          <a:xfrm>
            <a:off x="569092" y="3043200"/>
            <a:ext cx="3420000" cy="184666"/>
          </a:xfrm>
        </p:spPr>
        <p:txBody>
          <a:bodyPr lIns="360000" rIns="270000" anchor="ctr"/>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27" name="Textplatzhalter 8"/>
          <p:cNvSpPr>
            <a:spLocks noGrp="1"/>
          </p:cNvSpPr>
          <p:nvPr>
            <p:ph type="body" sz="quarter" idx="16"/>
          </p:nvPr>
        </p:nvSpPr>
        <p:spPr bwMode="gray">
          <a:xfrm>
            <a:off x="569092" y="3253200"/>
            <a:ext cx="3420000" cy="184666"/>
          </a:xfrm>
        </p:spPr>
        <p:txBody>
          <a:bodyPr lIns="360000" rIns="270000" anchor="ctr"/>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28" name="Textplatzhalter 8"/>
          <p:cNvSpPr>
            <a:spLocks noGrp="1"/>
          </p:cNvSpPr>
          <p:nvPr>
            <p:ph type="body" sz="quarter" idx="17"/>
          </p:nvPr>
        </p:nvSpPr>
        <p:spPr bwMode="gray">
          <a:xfrm>
            <a:off x="569092" y="3463200"/>
            <a:ext cx="3420000" cy="184666"/>
          </a:xfrm>
        </p:spPr>
        <p:txBody>
          <a:bodyPr lIns="360000" rIns="270000" anchor="ctr"/>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29" name="Textplatzhalter 8"/>
          <p:cNvSpPr>
            <a:spLocks noGrp="1"/>
          </p:cNvSpPr>
          <p:nvPr>
            <p:ph type="body" sz="quarter" idx="18"/>
          </p:nvPr>
        </p:nvSpPr>
        <p:spPr bwMode="gray">
          <a:xfrm>
            <a:off x="569092" y="4052400"/>
            <a:ext cx="3420000" cy="184666"/>
          </a:xfrm>
        </p:spPr>
        <p:txBody>
          <a:bodyPr lIns="360000" rIns="270000" anchor="ctr"/>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30" name="Textplatzhalter 8"/>
          <p:cNvSpPr>
            <a:spLocks noGrp="1"/>
          </p:cNvSpPr>
          <p:nvPr>
            <p:ph type="body" sz="quarter" idx="19"/>
          </p:nvPr>
        </p:nvSpPr>
        <p:spPr bwMode="gray">
          <a:xfrm>
            <a:off x="569092" y="4256400"/>
            <a:ext cx="3420000" cy="184666"/>
          </a:xfrm>
        </p:spPr>
        <p:txBody>
          <a:bodyPr lIns="360000" rIns="270000" anchor="ctr"/>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31" name="Textplatzhalter 8"/>
          <p:cNvSpPr>
            <a:spLocks noGrp="1"/>
          </p:cNvSpPr>
          <p:nvPr>
            <p:ph type="body" sz="quarter" idx="20"/>
          </p:nvPr>
        </p:nvSpPr>
        <p:spPr bwMode="gray">
          <a:xfrm>
            <a:off x="569092" y="4460400"/>
            <a:ext cx="3420000" cy="184666"/>
          </a:xfrm>
        </p:spPr>
        <p:txBody>
          <a:bodyPr lIns="360000" rIns="270000" anchor="ctr"/>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43" name="Fußzeilenplatzhalter 3"/>
          <p:cNvSpPr>
            <a:spLocks noGrp="1"/>
          </p:cNvSpPr>
          <p:nvPr>
            <p:ph type="ftr" sz="quarter" idx="22"/>
          </p:nvPr>
        </p:nvSpPr>
        <p:spPr/>
        <p:txBody>
          <a:bodyPr/>
          <a:lstStyle>
            <a:lvl1pPr>
              <a:defRPr>
                <a:solidFill>
                  <a:schemeClr val="bg1"/>
                </a:solidFill>
              </a:defRPr>
            </a:lvl1pPr>
          </a:lstStyle>
          <a:p>
            <a:pPr>
              <a:defRPr/>
            </a:pPr>
            <a:endParaRPr lang="en-GB"/>
          </a:p>
        </p:txBody>
      </p:sp>
    </p:spTree>
    <p:extLst>
      <p:ext uri="{BB962C8B-B14F-4D97-AF65-F5344CB8AC3E}">
        <p14:creationId xmlns:p14="http://schemas.microsoft.com/office/powerpoint/2010/main" val="4289164258"/>
      </p:ext>
    </p:extLst>
  </p:cSld>
  <p:clrMapOvr>
    <a:masterClrMapping/>
  </p:clrMapOvr>
  <p:transition spd="med">
    <p:pull/>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03">
    <p:spTree>
      <p:nvGrpSpPr>
        <p:cNvPr id="1" name=""/>
        <p:cNvGrpSpPr/>
        <p:nvPr/>
      </p:nvGrpSpPr>
      <p:grpSpPr>
        <a:xfrm>
          <a:off x="0" y="0"/>
          <a:ext cx="0" cy="0"/>
          <a:chOff x="0" y="0"/>
          <a:chExt cx="0" cy="0"/>
        </a:xfrm>
      </p:grpSpPr>
      <p:graphicFrame>
        <p:nvGraphicFramePr>
          <p:cNvPr id="4"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06698" name="think-cell Folie" r:id="rId4" imgW="360" imgH="360" progId="">
                  <p:embed/>
                </p:oleObj>
              </mc:Choice>
              <mc:Fallback>
                <p:oleObj name="think-cell Folie" r:id="rId4" imgW="360" imgH="360" progId="">
                  <p:embed/>
                  <p:pic>
                    <p:nvPicPr>
                      <p:cNvPr id="4098"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19"/>
          <p:cNvGrpSpPr>
            <a:grpSpLocks/>
          </p:cNvGrpSpPr>
          <p:nvPr userDrawn="1"/>
        </p:nvGrpSpPr>
        <p:grpSpPr bwMode="auto">
          <a:xfrm>
            <a:off x="576263" y="-166688"/>
            <a:ext cx="7416800" cy="144463"/>
            <a:chOff x="575556" y="-124966"/>
            <a:chExt cx="7416824" cy="108000"/>
          </a:xfrm>
        </p:grpSpPr>
        <p:sp>
          <p:nvSpPr>
            <p:cNvPr id="6"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7" name="Freihandform 21"/>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8" name="Freihandform 22"/>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9"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grpSp>
      <p:grpSp>
        <p:nvGrpSpPr>
          <p:cNvPr id="10" name="Gruppieren 30"/>
          <p:cNvGrpSpPr>
            <a:grpSpLocks/>
          </p:cNvGrpSpPr>
          <p:nvPr userDrawn="1"/>
        </p:nvGrpSpPr>
        <p:grpSpPr bwMode="auto">
          <a:xfrm>
            <a:off x="576263" y="6880225"/>
            <a:ext cx="7416800" cy="144463"/>
            <a:chOff x="575556" y="5160466"/>
            <a:chExt cx="7416824" cy="108000"/>
          </a:xfrm>
        </p:grpSpPr>
        <p:sp>
          <p:nvSpPr>
            <p:cNvPr id="11"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2" name="Freihandform 32"/>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3" name="Freihandform 33"/>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4"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grpSp>
      <p:grpSp>
        <p:nvGrpSpPr>
          <p:cNvPr id="15" name="Gruppieren 35"/>
          <p:cNvGrpSpPr>
            <a:grpSpLocks/>
          </p:cNvGrpSpPr>
          <p:nvPr userDrawn="1"/>
        </p:nvGrpSpPr>
        <p:grpSpPr bwMode="auto">
          <a:xfrm>
            <a:off x="-166688" y="1449388"/>
            <a:ext cx="144463" cy="4891087"/>
            <a:chOff x="-165953" y="1448781"/>
            <a:chExt cx="144001" cy="4891981"/>
          </a:xfrm>
        </p:grpSpPr>
        <p:sp>
          <p:nvSpPr>
            <p:cNvPr id="16" name="Freihandform 22"/>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17" name="Freihandform 23"/>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18" name="Freihandform 38"/>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grpSp>
        <p:nvGrpSpPr>
          <p:cNvPr id="19" name="Gruppieren 39"/>
          <p:cNvGrpSpPr>
            <a:grpSpLocks/>
          </p:cNvGrpSpPr>
          <p:nvPr userDrawn="1"/>
        </p:nvGrpSpPr>
        <p:grpSpPr bwMode="auto">
          <a:xfrm>
            <a:off x="9166225" y="1449388"/>
            <a:ext cx="144463" cy="4895850"/>
            <a:chOff x="9166242" y="1448781"/>
            <a:chExt cx="144000" cy="4896542"/>
          </a:xfrm>
        </p:grpSpPr>
        <p:sp>
          <p:nvSpPr>
            <p:cNvPr id="20" name="Freihandform 25"/>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21" name="Freihandform 47"/>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22" name="Freihandform 47"/>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sp>
        <p:nvSpPr>
          <p:cNvPr id="3" name="Bildplatzhalter 2"/>
          <p:cNvSpPr>
            <a:spLocks noGrp="1"/>
          </p:cNvSpPr>
          <p:nvPr>
            <p:ph type="pic" sz="quarter" idx="12"/>
          </p:nvPr>
        </p:nvSpPr>
        <p:spPr>
          <a:xfrm>
            <a:off x="0" y="-600"/>
            <a:ext cx="9144000" cy="6858600"/>
          </a:xfrm>
          <a:blipFill>
            <a:blip r:embed="rId6"/>
            <a:stretch>
              <a:fillRect/>
            </a:stretch>
          </a:blipFill>
        </p:spPr>
        <p:txBody>
          <a:bodyPr rtlCol="0">
            <a:noAutofit/>
          </a:bodyPr>
          <a:lstStyle>
            <a:lvl1pPr>
              <a:defRPr lang="de-DE" sz="1000" dirty="0"/>
            </a:lvl1pPr>
          </a:lstStyle>
          <a:p>
            <a:pPr lvl="0"/>
            <a:r>
              <a:rPr lang="sk-SK" noProof="0"/>
              <a:t>Ak chcete pridať obrázok, kliknite na ikonu</a:t>
            </a:r>
            <a:endParaRPr lang="de-DE" noProof="0" dirty="0"/>
          </a:p>
        </p:txBody>
      </p:sp>
      <p:sp>
        <p:nvSpPr>
          <p:cNvPr id="42" name="Titel 1"/>
          <p:cNvSpPr>
            <a:spLocks noGrp="1"/>
          </p:cNvSpPr>
          <p:nvPr>
            <p:ph type="ctrTitle"/>
          </p:nvPr>
        </p:nvSpPr>
        <p:spPr bwMode="gray">
          <a:xfrm>
            <a:off x="4068000" y="1627200"/>
            <a:ext cx="4032000" cy="1728000"/>
          </a:xfrm>
          <a:solidFill>
            <a:srgbClr val="EB4B0A"/>
          </a:solidFill>
        </p:spPr>
        <p:txBody>
          <a:bodyPr lIns="396000" tIns="396000" rIns="396000" bIns="432000">
            <a:noAutofit/>
          </a:bodyPr>
          <a:lstStyle>
            <a:lvl1pPr>
              <a:defRPr sz="2600" b="0">
                <a:solidFill>
                  <a:schemeClr val="bg1"/>
                </a:solidFill>
              </a:defRPr>
            </a:lvl1pPr>
          </a:lstStyle>
          <a:p>
            <a:r>
              <a:rPr lang="sk-SK" noProof="0"/>
              <a:t>Upravte štýly predlohy textu</a:t>
            </a:r>
            <a:endParaRPr lang="de-DE" noProof="0" dirty="0"/>
          </a:p>
        </p:txBody>
      </p:sp>
      <p:sp>
        <p:nvSpPr>
          <p:cNvPr id="23" name="Fußzeilenplatzhalter 4"/>
          <p:cNvSpPr>
            <a:spLocks noGrp="1"/>
          </p:cNvSpPr>
          <p:nvPr>
            <p:ph type="ftr" sz="quarter" idx="13"/>
          </p:nvPr>
        </p:nvSpPr>
        <p:spPr>
          <a:xfrm>
            <a:off x="4427538" y="2890838"/>
            <a:ext cx="2844800" cy="153987"/>
          </a:xfrm>
        </p:spPr>
        <p:txBody>
          <a:bodyPr anchor="b" anchorCtr="0"/>
          <a:lstStyle>
            <a:lvl1pPr>
              <a:defRPr>
                <a:solidFill>
                  <a:schemeClr val="bg1"/>
                </a:solidFill>
              </a:defRPr>
            </a:lvl1pPr>
          </a:lstStyle>
          <a:p>
            <a:pPr>
              <a:defRPr/>
            </a:pPr>
            <a:endParaRPr lang="de-DE"/>
          </a:p>
        </p:txBody>
      </p:sp>
    </p:spTree>
    <p:extLst>
      <p:ext uri="{BB962C8B-B14F-4D97-AF65-F5344CB8AC3E}">
        <p14:creationId xmlns:p14="http://schemas.microsoft.com/office/powerpoint/2010/main" val="2570281930"/>
      </p:ext>
    </p:extLst>
  </p:cSld>
  <p:clrMapOvr>
    <a:masterClrMapping/>
  </p:clrMapOvr>
  <p:transition spd="med">
    <p:pull/>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inal slide with picture">
    <p:spTree>
      <p:nvGrpSpPr>
        <p:cNvPr id="1" name=""/>
        <p:cNvGrpSpPr/>
        <p:nvPr/>
      </p:nvGrpSpPr>
      <p:grpSpPr>
        <a:xfrm>
          <a:off x="0" y="0"/>
          <a:ext cx="0" cy="0"/>
          <a:chOff x="0" y="0"/>
          <a:chExt cx="0" cy="0"/>
        </a:xfrm>
      </p:grpSpPr>
      <p:graphicFrame>
        <p:nvGraphicFramePr>
          <p:cNvPr id="4"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32298" name="think-cell Folie" r:id="rId4" imgW="360" imgH="360" progId="">
                  <p:embed/>
                </p:oleObj>
              </mc:Choice>
              <mc:Fallback>
                <p:oleObj name="think-cell Folie" r:id="rId4" imgW="360" imgH="360" progId="">
                  <p:embed/>
                  <p:pic>
                    <p:nvPicPr>
                      <p:cNvPr id="31753"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Bildplatzhalter 8"/>
          <p:cNvSpPr>
            <a:spLocks noGrp="1"/>
          </p:cNvSpPr>
          <p:nvPr>
            <p:ph type="pic" sz="quarter" idx="12"/>
          </p:nvPr>
        </p:nvSpPr>
        <p:spPr>
          <a:xfrm>
            <a:off x="0" y="0"/>
            <a:ext cx="9144000" cy="6858000"/>
          </a:xfrm>
          <a:blipFill>
            <a:blip r:embed="rId6"/>
            <a:stretch>
              <a:fillRect/>
            </a:stretch>
          </a:blipFill>
        </p:spPr>
        <p:txBody>
          <a:bodyPr rtlCol="0">
            <a:noAutofit/>
          </a:bodyPr>
          <a:lstStyle>
            <a:lvl1pPr marL="0" indent="0" algn="ctr">
              <a:spcBef>
                <a:spcPts val="0"/>
              </a:spcBef>
              <a:buNone/>
              <a:defRPr lang="de-DE" sz="1000"/>
            </a:lvl1pPr>
          </a:lstStyle>
          <a:p>
            <a:pPr lvl="0"/>
            <a:r>
              <a:rPr lang="sk-SK" noProof="0"/>
              <a:t>Ak chcete pridať obrázok, kliknite na ikonu</a:t>
            </a:r>
            <a:endParaRPr lang="en-GB" noProof="0" dirty="0"/>
          </a:p>
        </p:txBody>
      </p:sp>
      <p:sp>
        <p:nvSpPr>
          <p:cNvPr id="9" name="Titel 1"/>
          <p:cNvSpPr>
            <a:spLocks noGrp="1"/>
          </p:cNvSpPr>
          <p:nvPr>
            <p:ph type="ctrTitle"/>
          </p:nvPr>
        </p:nvSpPr>
        <p:spPr bwMode="gray">
          <a:xfrm>
            <a:off x="576263" y="1875179"/>
            <a:ext cx="3456000" cy="1728000"/>
          </a:xfrm>
          <a:solidFill>
            <a:srgbClr val="64B42D"/>
          </a:solidFill>
        </p:spPr>
        <p:txBody>
          <a:bodyPr lIns="396000" tIns="396000" rIns="396000" bIns="432000">
            <a:noAutofit/>
          </a:bodyPr>
          <a:lstStyle>
            <a:lvl1pPr>
              <a:defRPr sz="2500" b="0">
                <a:solidFill>
                  <a:schemeClr val="bg1"/>
                </a:solidFill>
              </a:defRPr>
            </a:lvl1pPr>
          </a:lstStyle>
          <a:p>
            <a:r>
              <a:rPr lang="sk-SK" noProof="0"/>
              <a:t>Upravte štýly predlohy textu</a:t>
            </a:r>
            <a:endParaRPr lang="en-GB" noProof="0" dirty="0"/>
          </a:p>
        </p:txBody>
      </p:sp>
      <p:sp>
        <p:nvSpPr>
          <p:cNvPr id="6" name="Fußzeilenplatzhalter 2"/>
          <p:cNvSpPr>
            <a:spLocks noGrp="1"/>
          </p:cNvSpPr>
          <p:nvPr>
            <p:ph type="ftr" sz="quarter" idx="13"/>
          </p:nvPr>
        </p:nvSpPr>
        <p:spPr/>
        <p:txBody>
          <a:bodyPr/>
          <a:lstStyle>
            <a:lvl1pPr>
              <a:defRPr>
                <a:solidFill>
                  <a:schemeClr val="bg1"/>
                </a:solidFill>
              </a:defRPr>
            </a:lvl1pPr>
          </a:lstStyle>
          <a:p>
            <a:pPr>
              <a:defRPr/>
            </a:pPr>
            <a:endParaRPr lang="en-GB"/>
          </a:p>
        </p:txBody>
      </p:sp>
    </p:spTree>
    <p:extLst>
      <p:ext uri="{BB962C8B-B14F-4D97-AF65-F5344CB8AC3E}">
        <p14:creationId xmlns:p14="http://schemas.microsoft.com/office/powerpoint/2010/main" val="3324609563"/>
      </p:ext>
    </p:extLst>
  </p:cSld>
  <p:clrMapOvr>
    <a:masterClrMapping/>
  </p:clrMapOvr>
  <p:transition spd="med">
    <p:pull/>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act partners with fullscreen picture">
    <p:spTree>
      <p:nvGrpSpPr>
        <p:cNvPr id="1" name=""/>
        <p:cNvGrpSpPr/>
        <p:nvPr/>
      </p:nvGrpSpPr>
      <p:grpSpPr>
        <a:xfrm>
          <a:off x="0" y="0"/>
          <a:ext cx="0" cy="0"/>
          <a:chOff x="0" y="0"/>
          <a:chExt cx="0" cy="0"/>
        </a:xfrm>
      </p:grpSpPr>
      <p:graphicFrame>
        <p:nvGraphicFramePr>
          <p:cNvPr id="12"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33322" name="think-cell Folie" r:id="rId4" imgW="360" imgH="360" progId="">
                  <p:embed/>
                </p:oleObj>
              </mc:Choice>
              <mc:Fallback>
                <p:oleObj name="think-cell Folie" r:id="rId4" imgW="360" imgH="360" progId="">
                  <p:embed/>
                  <p:pic>
                    <p:nvPicPr>
                      <p:cNvPr id="32777"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Bildplatzhalter 8"/>
          <p:cNvSpPr>
            <a:spLocks noGrp="1"/>
          </p:cNvSpPr>
          <p:nvPr>
            <p:ph type="pic" sz="quarter" idx="12"/>
          </p:nvPr>
        </p:nvSpPr>
        <p:spPr>
          <a:xfrm>
            <a:off x="0" y="0"/>
            <a:ext cx="9144000" cy="6858000"/>
          </a:xfrm>
          <a:blipFill>
            <a:blip r:embed="rId6"/>
            <a:stretch>
              <a:fillRect/>
            </a:stretch>
          </a:blipFill>
        </p:spPr>
        <p:txBody>
          <a:bodyPr rtlCol="0">
            <a:noAutofit/>
          </a:bodyPr>
          <a:lstStyle>
            <a:lvl1pPr marL="0" indent="0" algn="ctr">
              <a:spcBef>
                <a:spcPts val="0"/>
              </a:spcBef>
              <a:buNone/>
              <a:defRPr lang="de-DE" sz="1000"/>
            </a:lvl1pPr>
          </a:lstStyle>
          <a:p>
            <a:pPr lvl="0"/>
            <a:r>
              <a:rPr lang="sk-SK" noProof="0"/>
              <a:t>Ak chcete pridať obrázok, kliknite na ikonu</a:t>
            </a:r>
            <a:endParaRPr lang="en-GB" noProof="0" dirty="0"/>
          </a:p>
        </p:txBody>
      </p:sp>
      <p:sp>
        <p:nvSpPr>
          <p:cNvPr id="13" name="Titel 1"/>
          <p:cNvSpPr>
            <a:spLocks noGrp="1"/>
          </p:cNvSpPr>
          <p:nvPr>
            <p:ph type="ctrTitle"/>
          </p:nvPr>
        </p:nvSpPr>
        <p:spPr bwMode="gray">
          <a:xfrm>
            <a:off x="569092" y="1909557"/>
            <a:ext cx="3456000" cy="3456000"/>
          </a:xfrm>
          <a:solidFill>
            <a:srgbClr val="64B42D"/>
          </a:solidFill>
        </p:spPr>
        <p:txBody>
          <a:bodyPr lIns="360000" tIns="360000" rIns="270000" bIns="270000">
            <a:noAutofit/>
          </a:bodyPr>
          <a:lstStyle>
            <a:lvl1pPr>
              <a:defRPr sz="2400">
                <a:solidFill>
                  <a:schemeClr val="bg1"/>
                </a:solidFill>
              </a:defRPr>
            </a:lvl1pPr>
          </a:lstStyle>
          <a:p>
            <a:r>
              <a:rPr lang="sk-SK" noProof="0"/>
              <a:t>Upravte štýly predlohy textu</a:t>
            </a:r>
            <a:endParaRPr lang="en-GB" noProof="0" dirty="0"/>
          </a:p>
        </p:txBody>
      </p:sp>
      <p:sp>
        <p:nvSpPr>
          <p:cNvPr id="14" name="Textplatzhalter 8"/>
          <p:cNvSpPr>
            <a:spLocks noGrp="1"/>
          </p:cNvSpPr>
          <p:nvPr>
            <p:ph type="body" sz="quarter" idx="13"/>
          </p:nvPr>
        </p:nvSpPr>
        <p:spPr bwMode="gray">
          <a:xfrm>
            <a:off x="569092" y="2833200"/>
            <a:ext cx="3420000" cy="184666"/>
          </a:xfrm>
          <a:solidFill>
            <a:srgbClr val="64B42D"/>
          </a:solidFill>
        </p:spPr>
        <p:txBody>
          <a:bodyPr lIns="360000" rIns="270000" anchor="ctr"/>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15" name="Textplatzhalter 8"/>
          <p:cNvSpPr>
            <a:spLocks noGrp="1"/>
          </p:cNvSpPr>
          <p:nvPr>
            <p:ph type="body" sz="quarter" idx="14"/>
          </p:nvPr>
        </p:nvSpPr>
        <p:spPr bwMode="gray">
          <a:xfrm>
            <a:off x="569092" y="3848400"/>
            <a:ext cx="3420000" cy="184666"/>
          </a:xfrm>
          <a:solidFill>
            <a:srgbClr val="64B42D"/>
          </a:solidFill>
        </p:spPr>
        <p:txBody>
          <a:bodyPr lIns="360000" rIns="270000" anchor="ctr"/>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16" name="Textplatzhalter 8"/>
          <p:cNvSpPr>
            <a:spLocks noGrp="1"/>
          </p:cNvSpPr>
          <p:nvPr>
            <p:ph type="body" sz="quarter" idx="15"/>
          </p:nvPr>
        </p:nvSpPr>
        <p:spPr bwMode="gray">
          <a:xfrm>
            <a:off x="569092" y="3043200"/>
            <a:ext cx="3420000" cy="184666"/>
          </a:xfrm>
          <a:solidFill>
            <a:srgbClr val="64B42D"/>
          </a:solidFill>
        </p:spPr>
        <p:txBody>
          <a:bodyPr lIns="360000" rIns="270000" anchor="ctr"/>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17" name="Textplatzhalter 8"/>
          <p:cNvSpPr>
            <a:spLocks noGrp="1"/>
          </p:cNvSpPr>
          <p:nvPr>
            <p:ph type="body" sz="quarter" idx="16"/>
          </p:nvPr>
        </p:nvSpPr>
        <p:spPr bwMode="gray">
          <a:xfrm>
            <a:off x="569092" y="3253200"/>
            <a:ext cx="3420000" cy="184666"/>
          </a:xfrm>
          <a:solidFill>
            <a:srgbClr val="64B42D"/>
          </a:solidFill>
        </p:spPr>
        <p:txBody>
          <a:bodyPr lIns="360000" rIns="270000" anchor="ctr"/>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18" name="Textplatzhalter 8"/>
          <p:cNvSpPr>
            <a:spLocks noGrp="1"/>
          </p:cNvSpPr>
          <p:nvPr>
            <p:ph type="body" sz="quarter" idx="17"/>
          </p:nvPr>
        </p:nvSpPr>
        <p:spPr bwMode="gray">
          <a:xfrm>
            <a:off x="569092" y="3463200"/>
            <a:ext cx="3420000" cy="184666"/>
          </a:xfrm>
          <a:solidFill>
            <a:srgbClr val="64B42D"/>
          </a:solidFill>
        </p:spPr>
        <p:txBody>
          <a:bodyPr lIns="360000" rIns="270000" anchor="ctr"/>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19" name="Textplatzhalter 8"/>
          <p:cNvSpPr>
            <a:spLocks noGrp="1"/>
          </p:cNvSpPr>
          <p:nvPr>
            <p:ph type="body" sz="quarter" idx="18"/>
          </p:nvPr>
        </p:nvSpPr>
        <p:spPr bwMode="gray">
          <a:xfrm>
            <a:off x="569092" y="4052400"/>
            <a:ext cx="3420000" cy="184666"/>
          </a:xfrm>
          <a:solidFill>
            <a:srgbClr val="64B42D"/>
          </a:solidFill>
        </p:spPr>
        <p:txBody>
          <a:bodyPr lIns="360000" rIns="270000" anchor="ctr"/>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20" name="Textplatzhalter 8"/>
          <p:cNvSpPr>
            <a:spLocks noGrp="1"/>
          </p:cNvSpPr>
          <p:nvPr>
            <p:ph type="body" sz="quarter" idx="19"/>
          </p:nvPr>
        </p:nvSpPr>
        <p:spPr bwMode="gray">
          <a:xfrm>
            <a:off x="569092" y="4256400"/>
            <a:ext cx="3420000" cy="184666"/>
          </a:xfrm>
          <a:solidFill>
            <a:srgbClr val="64B42D"/>
          </a:solidFill>
        </p:spPr>
        <p:txBody>
          <a:bodyPr lIns="360000" rIns="270000" anchor="ctr"/>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21" name="Textplatzhalter 8"/>
          <p:cNvSpPr>
            <a:spLocks noGrp="1"/>
          </p:cNvSpPr>
          <p:nvPr>
            <p:ph type="body" sz="quarter" idx="20"/>
          </p:nvPr>
        </p:nvSpPr>
        <p:spPr bwMode="gray">
          <a:xfrm>
            <a:off x="569092" y="4460400"/>
            <a:ext cx="3420000" cy="184666"/>
          </a:xfrm>
          <a:solidFill>
            <a:srgbClr val="64B42D"/>
          </a:solidFill>
        </p:spPr>
        <p:txBody>
          <a:bodyPr lIns="360000" rIns="270000" anchor="ctr"/>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22" name="Fußzeilenplatzhalter 2"/>
          <p:cNvSpPr>
            <a:spLocks noGrp="1"/>
          </p:cNvSpPr>
          <p:nvPr>
            <p:ph type="ftr" sz="quarter" idx="21"/>
          </p:nvPr>
        </p:nvSpPr>
        <p:spPr/>
        <p:txBody>
          <a:bodyPr/>
          <a:lstStyle>
            <a:lvl1pPr>
              <a:defRPr>
                <a:solidFill>
                  <a:schemeClr val="bg1"/>
                </a:solidFill>
              </a:defRPr>
            </a:lvl1pPr>
          </a:lstStyle>
          <a:p>
            <a:pPr>
              <a:defRPr/>
            </a:pPr>
            <a:endParaRPr lang="en-GB"/>
          </a:p>
        </p:txBody>
      </p:sp>
    </p:spTree>
    <p:extLst>
      <p:ext uri="{BB962C8B-B14F-4D97-AF65-F5344CB8AC3E}">
        <p14:creationId xmlns:p14="http://schemas.microsoft.com/office/powerpoint/2010/main" val="1485946534"/>
      </p:ext>
    </p:extLst>
  </p:cSld>
  <p:clrMapOvr>
    <a:masterClrMapping/>
  </p:clrMapOvr>
  <p:transition spd="med">
    <p:pull/>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act partners with picture">
    <p:spTree>
      <p:nvGrpSpPr>
        <p:cNvPr id="1" name=""/>
        <p:cNvGrpSpPr/>
        <p:nvPr/>
      </p:nvGrpSpPr>
      <p:grpSpPr>
        <a:xfrm>
          <a:off x="0" y="0"/>
          <a:ext cx="0" cy="0"/>
          <a:chOff x="0" y="0"/>
          <a:chExt cx="0" cy="0"/>
        </a:xfrm>
      </p:grpSpPr>
      <p:graphicFrame>
        <p:nvGraphicFramePr>
          <p:cNvPr id="8"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34346" name="think-cell Folie" r:id="rId4" imgW="360" imgH="360" progId="">
                  <p:embed/>
                </p:oleObj>
              </mc:Choice>
              <mc:Fallback>
                <p:oleObj name="think-cell Folie" r:id="rId4" imgW="360" imgH="360" progId="">
                  <p:embed/>
                  <p:pic>
                    <p:nvPicPr>
                      <p:cNvPr id="33794"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9" name="Gruppieren 40"/>
          <p:cNvGrpSpPr>
            <a:grpSpLocks/>
          </p:cNvGrpSpPr>
          <p:nvPr userDrawn="1"/>
        </p:nvGrpSpPr>
        <p:grpSpPr bwMode="auto">
          <a:xfrm>
            <a:off x="576263" y="-166688"/>
            <a:ext cx="7416800" cy="144463"/>
            <a:chOff x="575556" y="-124966"/>
            <a:chExt cx="7416824" cy="108000"/>
          </a:xfrm>
        </p:grpSpPr>
        <p:sp>
          <p:nvSpPr>
            <p:cNvPr id="10" name="Freihandform 41"/>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11" name="Freihandform 42"/>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12" name="Freihandform 43"/>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13" name="Freihandform 44"/>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grpSp>
      <p:grpSp>
        <p:nvGrpSpPr>
          <p:cNvPr id="14" name="Gruppieren 45"/>
          <p:cNvGrpSpPr>
            <a:grpSpLocks/>
          </p:cNvGrpSpPr>
          <p:nvPr userDrawn="1"/>
        </p:nvGrpSpPr>
        <p:grpSpPr bwMode="auto">
          <a:xfrm>
            <a:off x="576263" y="6880225"/>
            <a:ext cx="7416800" cy="144463"/>
            <a:chOff x="575556" y="5160466"/>
            <a:chExt cx="7416824" cy="108000"/>
          </a:xfrm>
        </p:grpSpPr>
        <p:sp>
          <p:nvSpPr>
            <p:cNvPr id="15" name="Freihandform 46"/>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6" name="Freihandform 47"/>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7" name="Freihandform 48"/>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8" name="Freihandform 49"/>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grpSp>
      <p:grpSp>
        <p:nvGrpSpPr>
          <p:cNvPr id="19" name="Gruppieren 35"/>
          <p:cNvGrpSpPr>
            <a:grpSpLocks/>
          </p:cNvGrpSpPr>
          <p:nvPr userDrawn="1"/>
        </p:nvGrpSpPr>
        <p:grpSpPr bwMode="auto">
          <a:xfrm>
            <a:off x="-166688" y="1449388"/>
            <a:ext cx="144463" cy="4891087"/>
            <a:chOff x="-165953" y="1448781"/>
            <a:chExt cx="144001" cy="4891981"/>
          </a:xfrm>
        </p:grpSpPr>
        <p:sp>
          <p:nvSpPr>
            <p:cNvPr id="20" name="Freihandform 22"/>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21" name="Freihandform 23"/>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22" name="Freihandform 38"/>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grpSp>
        <p:nvGrpSpPr>
          <p:cNvPr id="25" name="Gruppieren 39"/>
          <p:cNvGrpSpPr>
            <a:grpSpLocks/>
          </p:cNvGrpSpPr>
          <p:nvPr userDrawn="1"/>
        </p:nvGrpSpPr>
        <p:grpSpPr bwMode="auto">
          <a:xfrm>
            <a:off x="9166225" y="1449388"/>
            <a:ext cx="144463" cy="4895850"/>
            <a:chOff x="9166242" y="1448781"/>
            <a:chExt cx="144000" cy="4896542"/>
          </a:xfrm>
        </p:grpSpPr>
        <p:sp>
          <p:nvSpPr>
            <p:cNvPr id="29" name="Freihandform 25"/>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30" name="Freihandform 47"/>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31" name="Freihandform 47"/>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pic>
        <p:nvPicPr>
          <p:cNvPr id="33" name="Obrázok 53"/>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50825" y="295275"/>
            <a:ext cx="60325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Obrázok 54"/>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000875" y="1354138"/>
            <a:ext cx="1836738" cy="100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Bildplatzhalter 8"/>
          <p:cNvSpPr>
            <a:spLocks noGrp="1"/>
          </p:cNvSpPr>
          <p:nvPr>
            <p:ph type="pic" sz="quarter" idx="12"/>
          </p:nvPr>
        </p:nvSpPr>
        <p:spPr>
          <a:xfrm>
            <a:off x="578984" y="1938784"/>
            <a:ext cx="3456000" cy="3792000"/>
          </a:xfrm>
          <a:blipFill>
            <a:blip r:embed="rId8"/>
            <a:stretch>
              <a:fillRect/>
            </a:stretch>
          </a:blipFill>
        </p:spPr>
        <p:txBody>
          <a:bodyPr rtlCol="0">
            <a:noAutofit/>
          </a:bodyPr>
          <a:lstStyle>
            <a:lvl1pPr marL="0" indent="0" algn="ctr">
              <a:spcBef>
                <a:spcPts val="0"/>
              </a:spcBef>
              <a:buNone/>
              <a:defRPr lang="de-DE" sz="1000"/>
            </a:lvl1pPr>
          </a:lstStyle>
          <a:p>
            <a:pPr lvl="0"/>
            <a:r>
              <a:rPr lang="sk-SK" noProof="0"/>
              <a:t>Ak chcete pridať obrázok, kliknite na ikonu</a:t>
            </a:r>
            <a:endParaRPr lang="en-GB" noProof="0" dirty="0"/>
          </a:p>
        </p:txBody>
      </p:sp>
      <p:sp>
        <p:nvSpPr>
          <p:cNvPr id="23" name="Titel 1"/>
          <p:cNvSpPr>
            <a:spLocks noGrp="1"/>
          </p:cNvSpPr>
          <p:nvPr>
            <p:ph type="ctrTitle"/>
          </p:nvPr>
        </p:nvSpPr>
        <p:spPr bwMode="gray">
          <a:xfrm>
            <a:off x="3203848" y="3825300"/>
            <a:ext cx="3456000" cy="2304000"/>
          </a:xfrm>
          <a:solidFill>
            <a:srgbClr val="64B42D"/>
          </a:solidFill>
        </p:spPr>
        <p:txBody>
          <a:bodyPr lIns="360000" tIns="360000" rIns="270000" bIns="270000">
            <a:noAutofit/>
          </a:bodyPr>
          <a:lstStyle>
            <a:lvl1pPr>
              <a:defRPr sz="2400">
                <a:solidFill>
                  <a:schemeClr val="bg1"/>
                </a:solidFill>
              </a:defRPr>
            </a:lvl1pPr>
          </a:lstStyle>
          <a:p>
            <a:r>
              <a:rPr lang="sk-SK" noProof="0"/>
              <a:t>Upravte štýly predlohy textu</a:t>
            </a:r>
            <a:endParaRPr lang="en-GB" noProof="0" dirty="0"/>
          </a:p>
        </p:txBody>
      </p:sp>
      <p:sp>
        <p:nvSpPr>
          <p:cNvPr id="24" name="Textplatzhalter 8"/>
          <p:cNvSpPr>
            <a:spLocks noGrp="1"/>
          </p:cNvSpPr>
          <p:nvPr>
            <p:ph type="body" sz="quarter" idx="13"/>
          </p:nvPr>
        </p:nvSpPr>
        <p:spPr bwMode="gray">
          <a:xfrm>
            <a:off x="3203848" y="4757553"/>
            <a:ext cx="3420000" cy="184666"/>
          </a:xfrm>
        </p:spPr>
        <p:txBody>
          <a:bodyPr lIns="360000" rIns="270000" anchor="ctr"/>
          <a:lstStyle>
            <a:lvl1pPr marL="0" indent="0">
              <a:spcBef>
                <a:spcPts val="0"/>
              </a:spcBef>
              <a:buNone/>
              <a:defRPr sz="1200" b="1">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26" name="Textplatzhalter 8"/>
          <p:cNvSpPr>
            <a:spLocks noGrp="1"/>
          </p:cNvSpPr>
          <p:nvPr>
            <p:ph type="body" sz="quarter" idx="15"/>
          </p:nvPr>
        </p:nvSpPr>
        <p:spPr bwMode="gray">
          <a:xfrm>
            <a:off x="3203848" y="4967553"/>
            <a:ext cx="3420000" cy="184666"/>
          </a:xfrm>
        </p:spPr>
        <p:txBody>
          <a:bodyPr lIns="360000" rIns="270000" anchor="ctr"/>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27" name="Textplatzhalter 8"/>
          <p:cNvSpPr>
            <a:spLocks noGrp="1"/>
          </p:cNvSpPr>
          <p:nvPr>
            <p:ph type="body" sz="quarter" idx="16"/>
          </p:nvPr>
        </p:nvSpPr>
        <p:spPr bwMode="gray">
          <a:xfrm>
            <a:off x="3203848" y="5177553"/>
            <a:ext cx="3420000" cy="184666"/>
          </a:xfrm>
        </p:spPr>
        <p:txBody>
          <a:bodyPr lIns="360000" rIns="270000" anchor="ctr"/>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28" name="Textplatzhalter 8"/>
          <p:cNvSpPr>
            <a:spLocks noGrp="1"/>
          </p:cNvSpPr>
          <p:nvPr>
            <p:ph type="body" sz="quarter" idx="17"/>
          </p:nvPr>
        </p:nvSpPr>
        <p:spPr bwMode="gray">
          <a:xfrm>
            <a:off x="3203848" y="5387553"/>
            <a:ext cx="3420000" cy="184666"/>
          </a:xfrm>
        </p:spPr>
        <p:txBody>
          <a:bodyPr lIns="360000" rIns="270000" anchor="ctr"/>
          <a:lstStyle>
            <a:lvl1pPr marL="0" indent="0">
              <a:spcBef>
                <a:spcPts val="0"/>
              </a:spcBef>
              <a:buNone/>
              <a:defRPr sz="1200" b="0">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35" name="Fußzeilenplatzhalter 3"/>
          <p:cNvSpPr>
            <a:spLocks noGrp="1"/>
          </p:cNvSpPr>
          <p:nvPr>
            <p:ph type="ftr" sz="quarter" idx="18"/>
          </p:nvPr>
        </p:nvSpPr>
        <p:spPr/>
        <p:txBody>
          <a:bodyPr/>
          <a:lstStyle>
            <a:lvl1pPr>
              <a:defRPr/>
            </a:lvl1pPr>
          </a:lstStyle>
          <a:p>
            <a:pPr>
              <a:defRPr/>
            </a:pPr>
            <a:endParaRPr lang="en-GB"/>
          </a:p>
        </p:txBody>
      </p:sp>
      <p:sp>
        <p:nvSpPr>
          <p:cNvPr id="36" name="Foliennummernplatzhalter 5"/>
          <p:cNvSpPr>
            <a:spLocks noGrp="1"/>
          </p:cNvSpPr>
          <p:nvPr>
            <p:ph type="sldNum" sz="quarter" idx="19"/>
          </p:nvPr>
        </p:nvSpPr>
        <p:spPr/>
        <p:txBody>
          <a:bodyPr/>
          <a:lstStyle>
            <a:lvl1pPr>
              <a:defRPr/>
            </a:lvl1pPr>
          </a:lstStyle>
          <a:p>
            <a:pPr>
              <a:defRPr/>
            </a:pPr>
            <a:fld id="{E59FAC2D-0F34-4F92-93FE-5FA4CE03161D}" type="slidenum">
              <a:rPr lang="en-GB"/>
              <a:pPr>
                <a:defRPr/>
              </a:pPr>
              <a:t>‹#›</a:t>
            </a:fld>
            <a:endParaRPr lang="en-GB" dirty="0"/>
          </a:p>
        </p:txBody>
      </p:sp>
    </p:spTree>
    <p:extLst>
      <p:ext uri="{BB962C8B-B14F-4D97-AF65-F5344CB8AC3E}">
        <p14:creationId xmlns:p14="http://schemas.microsoft.com/office/powerpoint/2010/main" val="859333833"/>
      </p:ext>
    </p:extLst>
  </p:cSld>
  <p:clrMapOvr>
    <a:masterClrMapping/>
  </p:clrMapOvr>
  <p:transition spd="med">
    <p:pull/>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ntact partners with pictures">
    <p:spTree>
      <p:nvGrpSpPr>
        <p:cNvPr id="1" name=""/>
        <p:cNvGrpSpPr/>
        <p:nvPr/>
      </p:nvGrpSpPr>
      <p:grpSpPr>
        <a:xfrm>
          <a:off x="0" y="0"/>
          <a:ext cx="0" cy="0"/>
          <a:chOff x="0" y="0"/>
          <a:chExt cx="0" cy="0"/>
        </a:xfrm>
      </p:grpSpPr>
      <p:graphicFrame>
        <p:nvGraphicFramePr>
          <p:cNvPr id="19"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35370" name="think-cell Folie" r:id="rId4" imgW="360" imgH="360" progId="">
                  <p:embed/>
                </p:oleObj>
              </mc:Choice>
              <mc:Fallback>
                <p:oleObj name="think-cell Folie" r:id="rId4" imgW="360" imgH="360" progId="">
                  <p:embed/>
                  <p:pic>
                    <p:nvPicPr>
                      <p:cNvPr id="34825"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p:txBody>
          <a:bodyPr/>
          <a:lstStyle/>
          <a:p>
            <a:r>
              <a:rPr lang="sk-SK" noProof="0"/>
              <a:t>Upravte štýly predlohy textu</a:t>
            </a:r>
            <a:endParaRPr lang="en-GB" noProof="0" dirty="0"/>
          </a:p>
        </p:txBody>
      </p:sp>
      <p:sp>
        <p:nvSpPr>
          <p:cNvPr id="9" name="Bildplatzhalter 8"/>
          <p:cNvSpPr>
            <a:spLocks noGrp="1"/>
          </p:cNvSpPr>
          <p:nvPr>
            <p:ph type="pic" sz="quarter" idx="12"/>
          </p:nvPr>
        </p:nvSpPr>
        <p:spPr>
          <a:xfrm>
            <a:off x="581844" y="3619200"/>
            <a:ext cx="1728000" cy="1728000"/>
          </a:xfrm>
          <a:prstGeom prst="ellipse">
            <a:avLst/>
          </a:prstGeom>
          <a:blipFill>
            <a:blip r:embed="rId6"/>
            <a:stretch>
              <a:fillRect/>
            </a:stretch>
          </a:blipFill>
          <a:ln w="76200">
            <a:solidFill>
              <a:srgbClr val="E60055"/>
            </a:solidFill>
          </a:ln>
        </p:spPr>
        <p:txBody>
          <a:bodyPr rtlCol="0">
            <a:noAutofit/>
          </a:bodyPr>
          <a:lstStyle>
            <a:lvl1pPr marL="0" indent="0" algn="ctr">
              <a:spcBef>
                <a:spcPts val="0"/>
              </a:spcBef>
              <a:buNone/>
              <a:defRPr lang="de-DE" sz="1000"/>
            </a:lvl1pPr>
          </a:lstStyle>
          <a:p>
            <a:pPr lvl="0"/>
            <a:r>
              <a:rPr lang="sk-SK" noProof="0"/>
              <a:t>Ak chcete pridať obrázok, kliknite na ikonu</a:t>
            </a:r>
            <a:endParaRPr lang="en-GB" noProof="0" dirty="0"/>
          </a:p>
        </p:txBody>
      </p:sp>
      <p:sp>
        <p:nvSpPr>
          <p:cNvPr id="10" name="Bildplatzhalter 8"/>
          <p:cNvSpPr>
            <a:spLocks noGrp="1"/>
          </p:cNvSpPr>
          <p:nvPr>
            <p:ph type="pic" sz="quarter" idx="13"/>
          </p:nvPr>
        </p:nvSpPr>
        <p:spPr>
          <a:xfrm>
            <a:off x="3167844" y="1940984"/>
            <a:ext cx="1728000" cy="1728000"/>
          </a:xfrm>
          <a:prstGeom prst="ellipse">
            <a:avLst/>
          </a:prstGeom>
          <a:blipFill>
            <a:blip r:embed="rId6"/>
            <a:stretch>
              <a:fillRect/>
            </a:stretch>
          </a:blipFill>
          <a:ln w="76200">
            <a:solidFill>
              <a:schemeClr val="accent3"/>
            </a:solidFill>
          </a:ln>
        </p:spPr>
        <p:txBody>
          <a:bodyPr rtlCol="0">
            <a:noAutofit/>
          </a:bodyPr>
          <a:lstStyle>
            <a:lvl1pPr marL="0" indent="0" algn="ctr">
              <a:spcBef>
                <a:spcPts val="0"/>
              </a:spcBef>
              <a:buNone/>
              <a:defRPr lang="de-DE" sz="1000"/>
            </a:lvl1pPr>
          </a:lstStyle>
          <a:p>
            <a:pPr lvl="0"/>
            <a:r>
              <a:rPr lang="sk-SK" noProof="0"/>
              <a:t>Ak chcete pridať obrázok, kliknite na ikonu</a:t>
            </a:r>
            <a:endParaRPr lang="en-GB" noProof="0" dirty="0"/>
          </a:p>
        </p:txBody>
      </p:sp>
      <p:sp>
        <p:nvSpPr>
          <p:cNvPr id="11" name="Textplatzhalter 8"/>
          <p:cNvSpPr>
            <a:spLocks noGrp="1"/>
          </p:cNvSpPr>
          <p:nvPr>
            <p:ph type="body" sz="quarter" idx="14"/>
          </p:nvPr>
        </p:nvSpPr>
        <p:spPr bwMode="gray">
          <a:xfrm>
            <a:off x="2531418" y="4063054"/>
            <a:ext cx="2880000" cy="184666"/>
          </a:xfrm>
        </p:spPr>
        <p:txBody>
          <a:bodyPr anchor="ctr"/>
          <a:lstStyle>
            <a:lvl1pPr marL="0" indent="0">
              <a:spcBef>
                <a:spcPts val="0"/>
              </a:spcBef>
              <a:buNone/>
              <a:defRPr sz="1200" b="1">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12" name="Textplatzhalter 8"/>
          <p:cNvSpPr>
            <a:spLocks noGrp="1"/>
          </p:cNvSpPr>
          <p:nvPr>
            <p:ph type="body" sz="quarter" idx="15"/>
          </p:nvPr>
        </p:nvSpPr>
        <p:spPr bwMode="gray">
          <a:xfrm>
            <a:off x="2531418" y="4365454"/>
            <a:ext cx="2880000" cy="184666"/>
          </a:xfrm>
        </p:spPr>
        <p:txBody>
          <a:bodyPr anchor="ctr"/>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13" name="Textplatzhalter 8"/>
          <p:cNvSpPr>
            <a:spLocks noGrp="1"/>
          </p:cNvSpPr>
          <p:nvPr>
            <p:ph type="body" sz="quarter" idx="16"/>
          </p:nvPr>
        </p:nvSpPr>
        <p:spPr bwMode="gray">
          <a:xfrm>
            <a:off x="2531418" y="4571854"/>
            <a:ext cx="2880000" cy="184666"/>
          </a:xfrm>
        </p:spPr>
        <p:txBody>
          <a:bodyPr anchor="ct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14" name="Textplatzhalter 8"/>
          <p:cNvSpPr>
            <a:spLocks noGrp="1"/>
          </p:cNvSpPr>
          <p:nvPr>
            <p:ph type="body" sz="quarter" idx="17"/>
          </p:nvPr>
        </p:nvSpPr>
        <p:spPr bwMode="gray">
          <a:xfrm>
            <a:off x="2531418" y="4773454"/>
            <a:ext cx="2880000" cy="184666"/>
          </a:xfrm>
        </p:spPr>
        <p:txBody>
          <a:bodyPr anchor="ctr"/>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15" name="Textplatzhalter 8"/>
          <p:cNvSpPr>
            <a:spLocks noGrp="1"/>
          </p:cNvSpPr>
          <p:nvPr>
            <p:ph type="body" sz="quarter" idx="18"/>
          </p:nvPr>
        </p:nvSpPr>
        <p:spPr bwMode="gray">
          <a:xfrm>
            <a:off x="5112380" y="2347571"/>
            <a:ext cx="2880000" cy="184666"/>
          </a:xfrm>
        </p:spPr>
        <p:txBody>
          <a:bodyPr anchor="ctr"/>
          <a:lstStyle>
            <a:lvl1pPr marL="0" indent="0">
              <a:spcBef>
                <a:spcPts val="0"/>
              </a:spcBef>
              <a:buNone/>
              <a:defRPr sz="1200" b="1">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16" name="Textplatzhalter 8"/>
          <p:cNvSpPr>
            <a:spLocks noGrp="1"/>
          </p:cNvSpPr>
          <p:nvPr>
            <p:ph type="body" sz="quarter" idx="19"/>
          </p:nvPr>
        </p:nvSpPr>
        <p:spPr bwMode="gray">
          <a:xfrm>
            <a:off x="5112380" y="2654771"/>
            <a:ext cx="2880000" cy="184666"/>
          </a:xfrm>
        </p:spPr>
        <p:txBody>
          <a:bodyPr anchor="ctr"/>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17" name="Textplatzhalter 8"/>
          <p:cNvSpPr>
            <a:spLocks noGrp="1"/>
          </p:cNvSpPr>
          <p:nvPr>
            <p:ph type="body" sz="quarter" idx="20"/>
          </p:nvPr>
        </p:nvSpPr>
        <p:spPr bwMode="gray">
          <a:xfrm>
            <a:off x="5112380" y="2861171"/>
            <a:ext cx="2880000" cy="184666"/>
          </a:xfrm>
        </p:spPr>
        <p:txBody>
          <a:bodyPr anchor="ct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18" name="Textplatzhalter 8"/>
          <p:cNvSpPr>
            <a:spLocks noGrp="1"/>
          </p:cNvSpPr>
          <p:nvPr>
            <p:ph type="body" sz="quarter" idx="21"/>
          </p:nvPr>
        </p:nvSpPr>
        <p:spPr bwMode="gray">
          <a:xfrm>
            <a:off x="5112380" y="3062771"/>
            <a:ext cx="2880000" cy="184666"/>
          </a:xfrm>
        </p:spPr>
        <p:txBody>
          <a:bodyPr anchor="ctr"/>
          <a:lstStyle>
            <a:lvl1pPr marL="0" indent="0">
              <a:spcBef>
                <a:spcPts val="0"/>
              </a:spcBef>
              <a:buNone/>
              <a:defRPr sz="1200" b="0">
                <a:solidFill>
                  <a:schemeClr val="tx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sk-SK" noProof="0"/>
              <a:t>Upraviť štýly predlohy textu</a:t>
            </a:r>
          </a:p>
        </p:txBody>
      </p:sp>
      <p:sp>
        <p:nvSpPr>
          <p:cNvPr id="20" name="Fußzeilenplatzhalter 2"/>
          <p:cNvSpPr>
            <a:spLocks noGrp="1"/>
          </p:cNvSpPr>
          <p:nvPr>
            <p:ph type="ftr" sz="quarter" idx="22"/>
          </p:nvPr>
        </p:nvSpPr>
        <p:spPr/>
        <p:txBody>
          <a:bodyPr/>
          <a:lstStyle>
            <a:lvl1pPr>
              <a:defRPr/>
            </a:lvl1pPr>
          </a:lstStyle>
          <a:p>
            <a:pPr>
              <a:defRPr/>
            </a:pPr>
            <a:endParaRPr lang="en-GB"/>
          </a:p>
        </p:txBody>
      </p:sp>
      <p:sp>
        <p:nvSpPr>
          <p:cNvPr id="21" name="Foliennummernplatzhalter 3"/>
          <p:cNvSpPr>
            <a:spLocks noGrp="1"/>
          </p:cNvSpPr>
          <p:nvPr>
            <p:ph type="sldNum" sz="quarter" idx="23"/>
          </p:nvPr>
        </p:nvSpPr>
        <p:spPr/>
        <p:txBody>
          <a:bodyPr/>
          <a:lstStyle>
            <a:lvl1pPr>
              <a:defRPr/>
            </a:lvl1pPr>
          </a:lstStyle>
          <a:p>
            <a:pPr>
              <a:defRPr/>
            </a:pPr>
            <a:fld id="{118739F3-42C4-42F7-8008-7BB3ED18720E}" type="slidenum">
              <a:rPr lang="en-GB"/>
              <a:pPr>
                <a:defRPr/>
              </a:pPr>
              <a:t>‹#›</a:t>
            </a:fld>
            <a:endParaRPr lang="en-GB" dirty="0"/>
          </a:p>
        </p:txBody>
      </p:sp>
    </p:spTree>
    <p:extLst>
      <p:ext uri="{BB962C8B-B14F-4D97-AF65-F5344CB8AC3E}">
        <p14:creationId xmlns:p14="http://schemas.microsoft.com/office/powerpoint/2010/main" val="1389652187"/>
      </p:ext>
    </p:extLst>
  </p:cSld>
  <p:clrMapOvr>
    <a:masterClrMapping/>
  </p:clrMapOvr>
  <p:transition spd="med">
    <p:pull/>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sclaimer 01">
    <p:spTree>
      <p:nvGrpSpPr>
        <p:cNvPr id="1" name=""/>
        <p:cNvGrpSpPr/>
        <p:nvPr/>
      </p:nvGrpSpPr>
      <p:grpSpPr>
        <a:xfrm>
          <a:off x="0" y="0"/>
          <a:ext cx="0" cy="0"/>
          <a:chOff x="0" y="0"/>
          <a:chExt cx="0" cy="0"/>
        </a:xfrm>
      </p:grpSpPr>
      <p:sp>
        <p:nvSpPr>
          <p:cNvPr id="2" name="Rechteck 2"/>
          <p:cNvSpPr>
            <a:spLocks noChangeArrowheads="1"/>
          </p:cNvSpPr>
          <p:nvPr userDrawn="1"/>
        </p:nvSpPr>
        <p:spPr bwMode="auto">
          <a:xfrm>
            <a:off x="576263" y="1736725"/>
            <a:ext cx="3563937" cy="344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300"/>
              </a:spcBef>
              <a:defRPr/>
            </a:pPr>
            <a:r>
              <a:rPr lang="en-GB" altLang="sk-SK" sz="800">
                <a:solidFill>
                  <a:srgbClr val="000000"/>
                </a:solidFill>
              </a:rPr>
              <a:t>This document and the information contained herein are for information purposes only and do not constitute a prospectus or an offer to sell or a solicitation of an offer to buy any securities in the United States. Any securities referred to herein have not been and will not be registered under the U.S. Securities Act of 1933, as amended (the "Securities Act"), or the laws of any state of the United States, and may not be offered, sold or otherwise transferred in the United States absent registration or pursuant to an available exemption from registration under the Securities Act. Neither RWE International SE (the "Company") nor one of its shareholders intends to register any securities referred to herein in the United States.</a:t>
            </a:r>
          </a:p>
          <a:p>
            <a:pPr eaLnBrk="1" hangingPunct="1">
              <a:spcBef>
                <a:spcPts val="300"/>
              </a:spcBef>
              <a:defRPr/>
            </a:pPr>
            <a:r>
              <a:rPr lang="en-GB" altLang="sk-SK" sz="800">
                <a:solidFill>
                  <a:srgbClr val="000000"/>
                </a:solidFill>
              </a:rPr>
              <a:t>This document does not constitute an offer to sell or a solicitation of an offer to buy any securities. Any offer will be made exclusively through and on the basis of a prospectus that must be published in Germany and Luxembourg as supplemented by additional information related to the offer outside of Germany and Luxembourg. The prospectus will be available free of charge at RWE International SE, Opernplatz 1, 45128 Essen as well as on the internet on the Company's website.</a:t>
            </a:r>
          </a:p>
          <a:p>
            <a:pPr eaLnBrk="1" hangingPunct="1">
              <a:spcBef>
                <a:spcPts val="300"/>
              </a:spcBef>
              <a:defRPr/>
            </a:pPr>
            <a:r>
              <a:rPr lang="en-GB" altLang="sk-SK" sz="800">
                <a:solidFill>
                  <a:srgbClr val="000000"/>
                </a:solidFill>
              </a:rPr>
              <a:t>No money, securities, or other consideration is being solicited, and, if sent in response to the information contained herein, will not be accepted.</a:t>
            </a:r>
          </a:p>
          <a:p>
            <a:pPr eaLnBrk="1" hangingPunct="1">
              <a:spcBef>
                <a:spcPts val="300"/>
              </a:spcBef>
              <a:defRPr/>
            </a:pPr>
            <a:r>
              <a:rPr lang="en-GB" altLang="sk-SK" sz="800">
                <a:solidFill>
                  <a:srgbClr val="000000"/>
                </a:solidFill>
              </a:rPr>
              <a:t>This document does not constitute an offer document or an offer of securities to the public in the U.K. to which section 85 of the Financial Services and Markets Act 2000 of the U.K. applies and should not be considered as a recommendation that any person should subscribe for or purchase any securities as part of the Offer. This document is being communicated only to (i) persons who are outside the U.K.; (ii) persons who have professional experience in matters relating to investments falling within article 19(5) of the Financial Services and Markets Act 2000 (Financial Promotion) Order 2005 (as amended) (the "Order") or (iii) high net worth companies, unincorporated associations and other bodies who fall within article 49(2)(a) to (d) of the Order (all such persons together being referred to as "Relevant Persons"). </a:t>
            </a:r>
          </a:p>
        </p:txBody>
      </p:sp>
      <p:sp>
        <p:nvSpPr>
          <p:cNvPr id="3" name="Textfeld 6"/>
          <p:cNvSpPr txBox="1"/>
          <p:nvPr userDrawn="1"/>
        </p:nvSpPr>
        <p:spPr>
          <a:xfrm>
            <a:off x="576263" y="474663"/>
            <a:ext cx="4391025" cy="360362"/>
          </a:xfrm>
          <a:prstGeom prst="rect">
            <a:avLst/>
          </a:prstGeom>
        </p:spPr>
        <p:txBody>
          <a:bodyPr lIns="0" tIns="0" rIns="0" bIns="0">
            <a:spAutoFit/>
          </a:bodyPr>
          <a:lstStyle>
            <a:lvl1pPr>
              <a:lnSpc>
                <a:spcPct val="90000"/>
              </a:lnSpc>
              <a:spcBef>
                <a:spcPct val="0"/>
              </a:spcBef>
              <a:buNone/>
              <a:defRPr sz="2400">
                <a:latin typeface="+mj-lt"/>
                <a:ea typeface="+mj-ea"/>
                <a:cs typeface="+mj-cs"/>
              </a:defRPr>
            </a:lvl1pPr>
          </a:lstStyle>
          <a:p>
            <a:pPr eaLnBrk="1" fontAlgn="auto" hangingPunct="1">
              <a:spcAft>
                <a:spcPts val="0"/>
              </a:spcAft>
              <a:defRPr/>
            </a:pPr>
            <a:r>
              <a:rPr lang="en-GB" sz="2600"/>
              <a:t>Important notice</a:t>
            </a:r>
            <a:endParaRPr lang="en-GB" sz="2600" dirty="0"/>
          </a:p>
        </p:txBody>
      </p:sp>
      <p:sp>
        <p:nvSpPr>
          <p:cNvPr id="4" name="Rechteck 7"/>
          <p:cNvSpPr>
            <a:spLocks noChangeArrowheads="1"/>
          </p:cNvSpPr>
          <p:nvPr userDrawn="1"/>
        </p:nvSpPr>
        <p:spPr bwMode="auto">
          <a:xfrm>
            <a:off x="4424363" y="1736725"/>
            <a:ext cx="3568700" cy="225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300"/>
              </a:spcBef>
              <a:defRPr/>
            </a:pPr>
            <a:r>
              <a:rPr lang="en-GB" altLang="sk-SK" sz="800">
                <a:solidFill>
                  <a:srgbClr val="000000"/>
                </a:solidFill>
              </a:rPr>
              <a:t>Any person who is not a Relevant Person must not act or rely on this communication or any of its contents. Any investment or investment activity to which this communication relates is available only to Relevant Persons and will be engaged in only with Relevant Persons. This document should not be published, reproduced, distributed or otherwise made available, in whole or in part, to any other person without the prior consent of the Company.</a:t>
            </a:r>
          </a:p>
          <a:p>
            <a:pPr eaLnBrk="1" hangingPunct="1">
              <a:spcBef>
                <a:spcPts val="300"/>
              </a:spcBef>
              <a:defRPr/>
            </a:pPr>
            <a:r>
              <a:rPr lang="en-GB" altLang="sk-SK" sz="800">
                <a:solidFill>
                  <a:srgbClr val="000000"/>
                </a:solidFill>
              </a:rPr>
              <a:t>This document contains forward-looking statements. These statements are based on the current views, expectations, assumptions and information of the management, and are based on information currently available to the management. Forward-looking statements shall not be construed as a promise for the materialization of future results and developments and involve known and unknown risks and uncertainties. Actual results, performance or events may differ materially from those described in such statements due to, among other things, changes in the general economic and competitive environment, risks associated with capital markets, currency exchange rate fluctuations, changes in international and national laws and regulations, in particular with respect to tax laws and regulations, affecting the Company, and other factors. Neither the Company nor any of its affiliates assumes any obligations to update any forward-looking statements.</a:t>
            </a:r>
          </a:p>
        </p:txBody>
      </p:sp>
      <p:sp>
        <p:nvSpPr>
          <p:cNvPr id="5" name="Fußzeilenplatzhalter 4"/>
          <p:cNvSpPr>
            <a:spLocks noGrp="1"/>
          </p:cNvSpPr>
          <p:nvPr>
            <p:ph type="ftr" sz="quarter" idx="10"/>
          </p:nvPr>
        </p:nvSpPr>
        <p:spPr/>
        <p:txBody>
          <a:bodyPr/>
          <a:lstStyle>
            <a:lvl1pPr>
              <a:defRPr/>
            </a:lvl1pPr>
          </a:lstStyle>
          <a:p>
            <a:pPr>
              <a:defRPr/>
            </a:pPr>
            <a:endParaRPr lang="en-GB"/>
          </a:p>
        </p:txBody>
      </p:sp>
      <p:sp>
        <p:nvSpPr>
          <p:cNvPr id="6" name="Foliennummernplatzhalter 5"/>
          <p:cNvSpPr>
            <a:spLocks noGrp="1"/>
          </p:cNvSpPr>
          <p:nvPr>
            <p:ph type="sldNum" sz="quarter" idx="11"/>
          </p:nvPr>
        </p:nvSpPr>
        <p:spPr/>
        <p:txBody>
          <a:bodyPr/>
          <a:lstStyle>
            <a:lvl1pPr>
              <a:defRPr/>
            </a:lvl1pPr>
          </a:lstStyle>
          <a:p>
            <a:pPr>
              <a:defRPr/>
            </a:pPr>
            <a:r>
              <a:rPr lang="en-GB"/>
              <a:t>  </a:t>
            </a:r>
            <a:fld id="{3A6C3734-E8A7-4BF2-9886-360488368662}" type="slidenum">
              <a:rPr lang="en-GB"/>
              <a:pPr>
                <a:defRPr/>
              </a:pPr>
              <a:t>‹#›</a:t>
            </a:fld>
            <a:endParaRPr lang="en-GB" dirty="0"/>
          </a:p>
        </p:txBody>
      </p:sp>
    </p:spTree>
    <p:extLst>
      <p:ext uri="{BB962C8B-B14F-4D97-AF65-F5344CB8AC3E}">
        <p14:creationId xmlns:p14="http://schemas.microsoft.com/office/powerpoint/2010/main" val="2949107265"/>
      </p:ext>
    </p:extLst>
  </p:cSld>
  <p:clrMapOvr>
    <a:masterClrMapping/>
  </p:clrMapOvr>
  <p:transition spd="med">
    <p:pull/>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sclaimer 02">
    <p:spTree>
      <p:nvGrpSpPr>
        <p:cNvPr id="1" name=""/>
        <p:cNvGrpSpPr/>
        <p:nvPr/>
      </p:nvGrpSpPr>
      <p:grpSpPr>
        <a:xfrm>
          <a:off x="0" y="0"/>
          <a:ext cx="0" cy="0"/>
          <a:chOff x="0" y="0"/>
          <a:chExt cx="0" cy="0"/>
        </a:xfrm>
      </p:grpSpPr>
      <p:sp>
        <p:nvSpPr>
          <p:cNvPr id="2" name="Rechteck 2"/>
          <p:cNvSpPr/>
          <p:nvPr userDrawn="1"/>
        </p:nvSpPr>
        <p:spPr>
          <a:xfrm>
            <a:off x="576263" y="1736725"/>
            <a:ext cx="3563937" cy="2940050"/>
          </a:xfrm>
          <a:prstGeom prst="rect">
            <a:avLst/>
          </a:prstGeom>
        </p:spPr>
        <p:txBody>
          <a:bodyPr lIns="0" tIns="0" rIns="0" bIns="0">
            <a:spAutoFit/>
          </a:bodyPr>
          <a:lstStyle/>
          <a:p>
            <a:pPr marL="179388" indent="-179388" eaLnBrk="1" fontAlgn="auto" hangingPunct="1">
              <a:spcBef>
                <a:spcPts val="300"/>
              </a:spcBef>
              <a:spcAft>
                <a:spcPts val="0"/>
              </a:spcAft>
              <a:buFont typeface="Arial" pitchFamily="34" charset="0"/>
              <a:buChar char="•"/>
              <a:defRPr/>
            </a:pPr>
            <a:r>
              <a:rPr lang="en-GB" sz="800" dirty="0">
                <a:solidFill>
                  <a:prstClr val="black"/>
                </a:solidFill>
                <a:latin typeface="+mn-lt"/>
              </a:rPr>
              <a:t>The objective of the publicity guidelines is to avoid any legally significant statements being released against the backdrop of the planned IPO which could give rise to risk of liability, or even delay or endanger the entire IPO.</a:t>
            </a:r>
          </a:p>
          <a:p>
            <a:pPr marL="179388" indent="-179388" eaLnBrk="1" fontAlgn="auto" hangingPunct="1">
              <a:spcBef>
                <a:spcPts val="300"/>
              </a:spcBef>
              <a:spcAft>
                <a:spcPts val="0"/>
              </a:spcAft>
              <a:buFont typeface="Arial" pitchFamily="34" charset="0"/>
              <a:buChar char="•"/>
              <a:defRPr/>
            </a:pPr>
            <a:r>
              <a:rPr lang="en-GB" sz="800" dirty="0">
                <a:solidFill>
                  <a:prstClr val="black"/>
                </a:solidFill>
                <a:latin typeface="+mn-lt"/>
              </a:rPr>
              <a:t>Please </a:t>
            </a:r>
            <a:r>
              <a:rPr lang="en-GB" sz="800" b="1" dirty="0">
                <a:solidFill>
                  <a:prstClr val="black"/>
                </a:solidFill>
                <a:latin typeface="+mn-lt"/>
              </a:rPr>
              <a:t>read</a:t>
            </a:r>
            <a:r>
              <a:rPr lang="en-GB" sz="800" dirty="0">
                <a:solidFill>
                  <a:prstClr val="black"/>
                </a:solidFill>
                <a:latin typeface="+mn-lt"/>
              </a:rPr>
              <a:t> the publicity guidelines thoroughly and in their entirety, including the executive Zhrnutie and the detailed explanations which accompany it.</a:t>
            </a:r>
          </a:p>
          <a:p>
            <a:pPr marL="179388" indent="-179388" eaLnBrk="1" fontAlgn="auto" hangingPunct="1">
              <a:spcBef>
                <a:spcPts val="300"/>
              </a:spcBef>
              <a:spcAft>
                <a:spcPts val="0"/>
              </a:spcAft>
              <a:buFont typeface="Arial" pitchFamily="34" charset="0"/>
              <a:buChar char="•"/>
              <a:defRPr/>
            </a:pPr>
            <a:r>
              <a:rPr lang="en-GB" sz="800" dirty="0">
                <a:solidFill>
                  <a:prstClr val="black"/>
                </a:solidFill>
                <a:latin typeface="+mn-lt"/>
              </a:rPr>
              <a:t>The publicity guidelines apply </a:t>
            </a:r>
            <a:r>
              <a:rPr lang="en-GB" sz="800" b="1" dirty="0">
                <a:solidFill>
                  <a:prstClr val="black"/>
                </a:solidFill>
                <a:latin typeface="+mn-lt"/>
              </a:rPr>
              <a:t>with effect as of 19 May 2016</a:t>
            </a:r>
            <a:r>
              <a:rPr lang="en-GB" sz="800" dirty="0">
                <a:solidFill>
                  <a:prstClr val="black"/>
                </a:solidFill>
                <a:latin typeface="+mn-lt"/>
              </a:rPr>
              <a:t>. Please therefore ensure that you </a:t>
            </a:r>
            <a:r>
              <a:rPr lang="en-GB" sz="800" b="1" dirty="0">
                <a:solidFill>
                  <a:prstClr val="black"/>
                </a:solidFill>
                <a:latin typeface="+mn-lt"/>
              </a:rPr>
              <a:t>observe</a:t>
            </a:r>
            <a:r>
              <a:rPr lang="en-GB" sz="800" dirty="0">
                <a:solidFill>
                  <a:prstClr val="black"/>
                </a:solidFill>
                <a:latin typeface="+mn-lt"/>
              </a:rPr>
              <a:t> them, not only in your day-to-day work but also, for example, in personal communications.</a:t>
            </a:r>
          </a:p>
          <a:p>
            <a:pPr marL="179388" indent="-179388" eaLnBrk="1" fontAlgn="auto" hangingPunct="1">
              <a:spcBef>
                <a:spcPts val="300"/>
              </a:spcBef>
              <a:spcAft>
                <a:spcPts val="0"/>
              </a:spcAft>
              <a:buFont typeface="Arial" pitchFamily="34" charset="0"/>
              <a:buChar char="•"/>
              <a:defRPr/>
            </a:pPr>
            <a:r>
              <a:rPr lang="en-GB" sz="800" dirty="0">
                <a:solidFill>
                  <a:prstClr val="black"/>
                </a:solidFill>
                <a:latin typeface="+mn-lt"/>
              </a:rPr>
              <a:t>Specifically:</a:t>
            </a:r>
          </a:p>
          <a:p>
            <a:pPr marL="314325" indent="-133350" eaLnBrk="1" fontAlgn="auto" hangingPunct="1">
              <a:spcBef>
                <a:spcPts val="300"/>
              </a:spcBef>
              <a:spcAft>
                <a:spcPts val="0"/>
              </a:spcAft>
              <a:buFont typeface="Symbol" pitchFamily="18" charset="2"/>
              <a:buChar char="-"/>
              <a:defRPr/>
            </a:pPr>
            <a:r>
              <a:rPr lang="en-GB" sz="800" dirty="0">
                <a:solidFill>
                  <a:prstClr val="black"/>
                </a:solidFill>
                <a:latin typeface="+mn-lt"/>
              </a:rPr>
              <a:t>Please </a:t>
            </a:r>
            <a:r>
              <a:rPr lang="en-GB" sz="800" b="1" dirty="0">
                <a:solidFill>
                  <a:prstClr val="black"/>
                </a:solidFill>
                <a:latin typeface="+mn-lt"/>
              </a:rPr>
              <a:t>check carefully </a:t>
            </a:r>
            <a:r>
              <a:rPr lang="en-GB" sz="800" dirty="0">
                <a:solidFill>
                  <a:prstClr val="black"/>
                </a:solidFill>
                <a:latin typeface="+mn-lt"/>
              </a:rPr>
              <a:t>that any enquiries or communications answered or initiated by you are consistent with these guidelines.</a:t>
            </a:r>
          </a:p>
          <a:p>
            <a:pPr marL="314325" indent="-133350" eaLnBrk="1" fontAlgn="auto" hangingPunct="1">
              <a:spcBef>
                <a:spcPts val="300"/>
              </a:spcBef>
              <a:spcAft>
                <a:spcPts val="0"/>
              </a:spcAft>
              <a:buFont typeface="Symbol" pitchFamily="18" charset="2"/>
              <a:buChar char="-"/>
              <a:defRPr/>
            </a:pPr>
            <a:r>
              <a:rPr lang="en-GB" sz="800" dirty="0">
                <a:solidFill>
                  <a:prstClr val="black"/>
                </a:solidFill>
                <a:latin typeface="+mn-lt"/>
              </a:rPr>
              <a:t>Should this not be the case, or should you have any doubts as to whether this is the case, we would ask that you adapt your communication accordingly to ensure it does fall in line with these guidelines.</a:t>
            </a:r>
          </a:p>
          <a:p>
            <a:pPr marL="314325" indent="-133350" eaLnBrk="1" fontAlgn="auto" hangingPunct="1">
              <a:spcBef>
                <a:spcPts val="300"/>
              </a:spcBef>
              <a:spcAft>
                <a:spcPts val="0"/>
              </a:spcAft>
              <a:buFont typeface="Symbol" pitchFamily="18" charset="2"/>
              <a:buChar char="-"/>
              <a:defRPr/>
            </a:pPr>
            <a:r>
              <a:rPr lang="en-GB" sz="800" dirty="0">
                <a:solidFill>
                  <a:prstClr val="black"/>
                </a:solidFill>
                <a:latin typeface="+mn-lt"/>
              </a:rPr>
              <a:t>Should no appropriate adjustment appear possible, or should you have any doubts as to whether one is possible, without (for whatever reason) dispensing with any statements or communications which you consider to be necessary, </a:t>
            </a:r>
            <a:r>
              <a:rPr lang="en-GB" sz="800" b="1" dirty="0">
                <a:solidFill>
                  <a:prstClr val="black"/>
                </a:solidFill>
                <a:latin typeface="+mn-lt"/>
              </a:rPr>
              <a:t>promptly</a:t>
            </a:r>
            <a:r>
              <a:rPr lang="en-GB" sz="800" dirty="0">
                <a:solidFill>
                  <a:prstClr val="black"/>
                </a:solidFill>
                <a:latin typeface="+mn-lt"/>
              </a:rPr>
              <a:t> contact the designated Authorized Persons. The </a:t>
            </a:r>
            <a:r>
              <a:rPr lang="en-GB" sz="800" b="1" dirty="0">
                <a:solidFill>
                  <a:prstClr val="black"/>
                </a:solidFill>
                <a:latin typeface="+mn-lt"/>
              </a:rPr>
              <a:t>Authorized Persons </a:t>
            </a:r>
            <a:r>
              <a:rPr lang="en-GB" sz="800" dirty="0">
                <a:solidFill>
                  <a:prstClr val="black"/>
                </a:solidFill>
                <a:latin typeface="+mn-lt"/>
              </a:rPr>
              <a:t>are a team consisting of representatives from PMO (Coordination), Communication, Investor Relations, IPO Lead/M&amp;A and Legal. The authorized persons can only be contacted via the email </a:t>
            </a:r>
            <a:r>
              <a:rPr lang="en-GB" sz="800" b="1" dirty="0">
                <a:solidFill>
                  <a:prstClr val="black"/>
                </a:solidFill>
                <a:latin typeface="+mn-lt"/>
              </a:rPr>
              <a:t>authorizedpersons.phoenix@rwe.com </a:t>
            </a:r>
          </a:p>
        </p:txBody>
      </p:sp>
      <p:sp>
        <p:nvSpPr>
          <p:cNvPr id="3" name="Textfeld 6"/>
          <p:cNvSpPr txBox="1"/>
          <p:nvPr userDrawn="1"/>
        </p:nvSpPr>
        <p:spPr>
          <a:xfrm>
            <a:off x="576263" y="474663"/>
            <a:ext cx="4391025" cy="360362"/>
          </a:xfrm>
          <a:prstGeom prst="rect">
            <a:avLst/>
          </a:prstGeom>
        </p:spPr>
        <p:txBody>
          <a:bodyPr lIns="0" tIns="0" rIns="0" bIns="0">
            <a:spAutoFit/>
          </a:bodyPr>
          <a:lstStyle>
            <a:lvl1pPr>
              <a:lnSpc>
                <a:spcPct val="90000"/>
              </a:lnSpc>
              <a:spcBef>
                <a:spcPct val="0"/>
              </a:spcBef>
              <a:buNone/>
              <a:defRPr sz="2400">
                <a:latin typeface="+mj-lt"/>
                <a:ea typeface="+mj-ea"/>
                <a:cs typeface="+mj-cs"/>
              </a:defRPr>
            </a:lvl1pPr>
          </a:lstStyle>
          <a:p>
            <a:pPr eaLnBrk="1" fontAlgn="auto" hangingPunct="1">
              <a:spcAft>
                <a:spcPts val="0"/>
              </a:spcAft>
              <a:defRPr/>
            </a:pPr>
            <a:r>
              <a:rPr lang="en-GB" sz="2600"/>
              <a:t>Important notice</a:t>
            </a:r>
            <a:endParaRPr lang="en-GB" sz="2600" dirty="0"/>
          </a:p>
        </p:txBody>
      </p:sp>
      <p:sp>
        <p:nvSpPr>
          <p:cNvPr id="4" name="Textplatzhalter 5"/>
          <p:cNvSpPr txBox="1">
            <a:spLocks/>
          </p:cNvSpPr>
          <p:nvPr userDrawn="1"/>
        </p:nvSpPr>
        <p:spPr bwMode="gray">
          <a:xfrm>
            <a:off x="4422775" y="1736725"/>
            <a:ext cx="3563938" cy="2165350"/>
          </a:xfrm>
          <a:prstGeom prst="rect">
            <a:avLst/>
          </a:prstGeom>
        </p:spPr>
        <p:txBody>
          <a:bodyPr lIns="0" tIns="0" rIns="0" bIns="0">
            <a:spAutoFit/>
          </a:bodyPr>
          <a:lstStyle>
            <a:lvl1pPr marL="179388" indent="-179388" algn="l" defTabSz="914400" rtl="0" eaLnBrk="1" latinLnBrk="0" hangingPunct="1">
              <a:spcBef>
                <a:spcPts val="300"/>
              </a:spcBef>
              <a:buFont typeface="Arial" pitchFamily="34" charset="0"/>
              <a:buChar char="•"/>
              <a:defRPr sz="1600" kern="1200" baseline="0">
                <a:solidFill>
                  <a:schemeClr val="tx1"/>
                </a:solidFill>
                <a:latin typeface="+mn-lt"/>
                <a:ea typeface="+mn-ea"/>
                <a:cs typeface="+mn-cs"/>
              </a:defRPr>
            </a:lvl1pPr>
            <a:lvl2pPr marL="360363" indent="-180975" algn="l" defTabSz="914400" rtl="0" eaLnBrk="1" latinLnBrk="0" hangingPunct="1">
              <a:spcBef>
                <a:spcPts val="200"/>
              </a:spcBef>
              <a:buFont typeface="Symbol" panose="05050102010706020507" pitchFamily="18" charset="2"/>
              <a:buChar char="-"/>
              <a:defRPr sz="1600" kern="1200">
                <a:solidFill>
                  <a:schemeClr val="tx1"/>
                </a:solidFill>
                <a:latin typeface="+mn-lt"/>
                <a:ea typeface="+mn-ea"/>
                <a:cs typeface="+mn-cs"/>
              </a:defRPr>
            </a:lvl2pPr>
            <a:lvl3pPr marL="538163" indent="-180000" algn="l" defTabSz="914400" rtl="0" eaLnBrk="1" latinLnBrk="0" hangingPunct="1">
              <a:spcBef>
                <a:spcPts val="200"/>
              </a:spcBef>
              <a:buFont typeface="Arial" pitchFamily="34" charset="0"/>
              <a:buChar char="•"/>
              <a:defRPr sz="1600" kern="1200">
                <a:solidFill>
                  <a:schemeClr val="tx1"/>
                </a:solidFill>
                <a:latin typeface="+mn-lt"/>
                <a:ea typeface="+mn-ea"/>
                <a:cs typeface="+mn-cs"/>
              </a:defRPr>
            </a:lvl3pPr>
            <a:lvl4pPr marL="0" indent="0" algn="l" defTabSz="914400" rtl="0" eaLnBrk="1" latinLnBrk="0" hangingPunct="1">
              <a:spcBef>
                <a:spcPts val="1000"/>
              </a:spcBef>
              <a:buFont typeface="Arial" pitchFamily="34" charset="0"/>
              <a:buNone/>
              <a:defRPr sz="1600" b="1" kern="1200">
                <a:solidFill>
                  <a:schemeClr val="tx1"/>
                </a:solidFill>
                <a:latin typeface="+mn-lt"/>
                <a:ea typeface="+mn-ea"/>
                <a:cs typeface="+mn-cs"/>
              </a:defRPr>
            </a:lvl4pPr>
            <a:lvl5pPr marL="0" indent="0" algn="l" defTabSz="914400" rtl="0" eaLnBrk="1" latinLnBrk="0" hangingPunct="1">
              <a:spcBef>
                <a:spcPts val="600"/>
              </a:spcBef>
              <a:buFont typeface="Arial" pitchFamily="34" charset="0"/>
              <a:buNone/>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Bef>
                <a:spcPts val="0"/>
              </a:spcBef>
              <a:spcAft>
                <a:spcPts val="0"/>
              </a:spcAft>
              <a:buFontTx/>
              <a:buNone/>
              <a:defRPr/>
            </a:pPr>
            <a:r>
              <a:rPr lang="en-GB" sz="800">
                <a:solidFill>
                  <a:prstClr val="black"/>
                </a:solidFill>
              </a:rPr>
              <a:t>Please ensure that you submit any enquiries </a:t>
            </a:r>
            <a:r>
              <a:rPr lang="en-GB" sz="800" b="1">
                <a:solidFill>
                  <a:prstClr val="black"/>
                </a:solidFill>
              </a:rPr>
              <a:t>as soon as possible </a:t>
            </a:r>
            <a:r>
              <a:rPr lang="en-GB" sz="800">
                <a:solidFill>
                  <a:prstClr val="black"/>
                </a:solidFill>
              </a:rPr>
              <a:t>and in any event at least three working days before the planned date of release (in case of large documents, please send us the files at least one week before publication).</a:t>
            </a:r>
          </a:p>
          <a:p>
            <a:pPr marL="0" indent="0" fontAlgn="auto">
              <a:spcBef>
                <a:spcPts val="0"/>
              </a:spcBef>
              <a:spcAft>
                <a:spcPts val="0"/>
              </a:spcAft>
              <a:buFontTx/>
              <a:buNone/>
              <a:defRPr/>
            </a:pPr>
            <a:r>
              <a:rPr lang="en-GB" sz="800">
                <a:solidFill>
                  <a:prstClr val="black"/>
                </a:solidFill>
              </a:rPr>
              <a:t>Please ensure that when sending draft publications you state the </a:t>
            </a:r>
            <a:r>
              <a:rPr lang="en-GB" sz="800" b="1">
                <a:solidFill>
                  <a:prstClr val="black"/>
                </a:solidFill>
              </a:rPr>
              <a:t>date</a:t>
            </a:r>
            <a:r>
              <a:rPr lang="en-GB" sz="800">
                <a:solidFill>
                  <a:prstClr val="black"/>
                </a:solidFill>
              </a:rPr>
              <a:t> and time by which any comments in respect of that draft must be received as well as the </a:t>
            </a:r>
            <a:r>
              <a:rPr lang="en-GB" sz="800" b="1">
                <a:solidFill>
                  <a:prstClr val="black"/>
                </a:solidFill>
              </a:rPr>
              <a:t>target audience </a:t>
            </a:r>
            <a:r>
              <a:rPr lang="en-GB" sz="800">
                <a:solidFill>
                  <a:prstClr val="black"/>
                </a:solidFill>
              </a:rPr>
              <a:t>of the publication</a:t>
            </a:r>
            <a:r>
              <a:rPr lang="en-GB" sz="800"/>
              <a:t>.</a:t>
            </a:r>
          </a:p>
          <a:p>
            <a:pPr fontAlgn="auto">
              <a:spcAft>
                <a:spcPts val="0"/>
              </a:spcAft>
              <a:defRPr/>
            </a:pPr>
            <a:endParaRPr lang="en-GB" sz="800"/>
          </a:p>
          <a:p>
            <a:pPr fontAlgn="auto">
              <a:spcAft>
                <a:spcPts val="0"/>
              </a:spcAft>
              <a:defRPr/>
            </a:pPr>
            <a:endParaRPr lang="en-GB" sz="800"/>
          </a:p>
          <a:p>
            <a:pPr lvl="3" fontAlgn="auto">
              <a:spcAft>
                <a:spcPts val="0"/>
              </a:spcAft>
              <a:defRPr/>
            </a:pPr>
            <a:r>
              <a:rPr lang="en-GB" sz="800">
                <a:solidFill>
                  <a:schemeClr val="accent3"/>
                </a:solidFill>
              </a:rPr>
              <a:t>Publicity Guidelines</a:t>
            </a:r>
          </a:p>
          <a:p>
            <a:pPr lvl="4" fontAlgn="auto">
              <a:spcAft>
                <a:spcPts val="0"/>
              </a:spcAft>
              <a:defRPr/>
            </a:pPr>
            <a:r>
              <a:rPr lang="en-GB" sz="800"/>
              <a:t>(Please switch to the slide show mode to open the file)</a:t>
            </a:r>
          </a:p>
          <a:p>
            <a:pPr lvl="3" fontAlgn="auto">
              <a:spcAft>
                <a:spcPts val="0"/>
              </a:spcAft>
              <a:defRPr/>
            </a:pPr>
            <a:r>
              <a:rPr lang="en-GB" sz="800">
                <a:solidFill>
                  <a:schemeClr val="accent3"/>
                </a:solidFill>
              </a:rPr>
              <a:t>Introduction to the Publicity Guidelines</a:t>
            </a:r>
          </a:p>
          <a:p>
            <a:pPr lvl="4" fontAlgn="auto">
              <a:spcAft>
                <a:spcPts val="0"/>
              </a:spcAft>
              <a:defRPr/>
            </a:pPr>
            <a:r>
              <a:rPr lang="en-GB" sz="800"/>
              <a:t>(Please switch to the slide show mode to open the file)</a:t>
            </a:r>
          </a:p>
          <a:p>
            <a:pPr marL="0" indent="0" fontAlgn="auto">
              <a:spcAft>
                <a:spcPts val="0"/>
              </a:spcAft>
              <a:buFont typeface="Arial" pitchFamily="34" charset="0"/>
              <a:buNone/>
              <a:defRPr/>
            </a:pPr>
            <a:endParaRPr lang="en-GB" sz="800" dirty="0"/>
          </a:p>
        </p:txBody>
      </p:sp>
      <p:sp>
        <p:nvSpPr>
          <p:cNvPr id="5" name="Fußzeilenplatzhalter 4"/>
          <p:cNvSpPr>
            <a:spLocks noGrp="1"/>
          </p:cNvSpPr>
          <p:nvPr>
            <p:ph type="ftr" sz="quarter" idx="10"/>
          </p:nvPr>
        </p:nvSpPr>
        <p:spPr/>
        <p:txBody>
          <a:bodyPr/>
          <a:lstStyle>
            <a:lvl1pPr>
              <a:defRPr/>
            </a:lvl1pPr>
          </a:lstStyle>
          <a:p>
            <a:pPr>
              <a:defRPr/>
            </a:pPr>
            <a:endParaRPr lang="en-GB"/>
          </a:p>
        </p:txBody>
      </p:sp>
      <p:sp>
        <p:nvSpPr>
          <p:cNvPr id="6" name="Foliennummernplatzhalter 5"/>
          <p:cNvSpPr>
            <a:spLocks noGrp="1"/>
          </p:cNvSpPr>
          <p:nvPr>
            <p:ph type="sldNum" sz="quarter" idx="11"/>
          </p:nvPr>
        </p:nvSpPr>
        <p:spPr/>
        <p:txBody>
          <a:bodyPr/>
          <a:lstStyle>
            <a:lvl1pPr>
              <a:defRPr/>
            </a:lvl1pPr>
          </a:lstStyle>
          <a:p>
            <a:pPr>
              <a:defRPr/>
            </a:pPr>
            <a:r>
              <a:rPr lang="en-GB"/>
              <a:t>  </a:t>
            </a:r>
            <a:fld id="{A0B5DC0F-219F-4701-AFF8-ACCFFD488DA0}" type="slidenum">
              <a:rPr lang="en-GB"/>
              <a:pPr>
                <a:defRPr/>
              </a:pPr>
              <a:t>‹#›</a:t>
            </a:fld>
            <a:endParaRPr lang="en-GB" dirty="0"/>
          </a:p>
        </p:txBody>
      </p:sp>
    </p:spTree>
    <p:extLst>
      <p:ext uri="{BB962C8B-B14F-4D97-AF65-F5344CB8AC3E}">
        <p14:creationId xmlns:p14="http://schemas.microsoft.com/office/powerpoint/2010/main" val="584007520"/>
      </p:ext>
    </p:extLst>
  </p:cSld>
  <p:clrMapOvr>
    <a:masterClrMapping/>
  </p:clrMapOvr>
  <p:transition spd="med">
    <p:pull/>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4_Title slide 06">
    <p:bg bwMode="gray">
      <p:bgPr>
        <a:solidFill>
          <a:srgbClr val="00875A"/>
        </a:solidFill>
        <a:effectLst/>
      </p:bgPr>
    </p:bg>
    <p:spTree>
      <p:nvGrpSpPr>
        <p:cNvPr id="1" name=""/>
        <p:cNvGrpSpPr/>
        <p:nvPr/>
      </p:nvGrpSpPr>
      <p:grpSpPr>
        <a:xfrm>
          <a:off x="0" y="0"/>
          <a:ext cx="0" cy="0"/>
          <a:chOff x="0" y="0"/>
          <a:chExt cx="0" cy="0"/>
        </a:xfrm>
      </p:grpSpPr>
      <p:grpSp>
        <p:nvGrpSpPr>
          <p:cNvPr id="3" name="Gruppieren 19"/>
          <p:cNvGrpSpPr>
            <a:grpSpLocks/>
          </p:cNvGrpSpPr>
          <p:nvPr userDrawn="1"/>
        </p:nvGrpSpPr>
        <p:grpSpPr bwMode="auto">
          <a:xfrm>
            <a:off x="576263" y="-166688"/>
            <a:ext cx="7416800" cy="144463"/>
            <a:chOff x="575556" y="-124966"/>
            <a:chExt cx="7416824" cy="108000"/>
          </a:xfrm>
        </p:grpSpPr>
        <p:sp>
          <p:nvSpPr>
            <p:cNvPr id="4"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5" name="Freihandform 21"/>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6" name="Freihandform 22"/>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7"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grpSp>
      <p:grpSp>
        <p:nvGrpSpPr>
          <p:cNvPr id="8" name="Gruppieren 30"/>
          <p:cNvGrpSpPr>
            <a:grpSpLocks/>
          </p:cNvGrpSpPr>
          <p:nvPr userDrawn="1"/>
        </p:nvGrpSpPr>
        <p:grpSpPr bwMode="auto">
          <a:xfrm>
            <a:off x="576263" y="6880225"/>
            <a:ext cx="7416800" cy="144463"/>
            <a:chOff x="575556" y="5160466"/>
            <a:chExt cx="7416824" cy="108000"/>
          </a:xfrm>
        </p:grpSpPr>
        <p:sp>
          <p:nvSpPr>
            <p:cNvPr id="9"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0" name="Freihandform 32"/>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1" name="Freihandform 33"/>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2"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grpSp>
      <p:grpSp>
        <p:nvGrpSpPr>
          <p:cNvPr id="13" name="Gruppieren 36"/>
          <p:cNvGrpSpPr>
            <a:grpSpLocks/>
          </p:cNvGrpSpPr>
          <p:nvPr userDrawn="1"/>
        </p:nvGrpSpPr>
        <p:grpSpPr bwMode="auto">
          <a:xfrm>
            <a:off x="-166688" y="1449388"/>
            <a:ext cx="144463" cy="4891087"/>
            <a:chOff x="-165953" y="1448781"/>
            <a:chExt cx="144001" cy="4891981"/>
          </a:xfrm>
        </p:grpSpPr>
        <p:sp>
          <p:nvSpPr>
            <p:cNvPr id="14" name="Freihandform 22"/>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15" name="Freihandform 23"/>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16" name="Freihandform 39"/>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grpSp>
        <p:nvGrpSpPr>
          <p:cNvPr id="17" name="Gruppieren 40"/>
          <p:cNvGrpSpPr>
            <a:grpSpLocks/>
          </p:cNvGrpSpPr>
          <p:nvPr userDrawn="1"/>
        </p:nvGrpSpPr>
        <p:grpSpPr bwMode="auto">
          <a:xfrm>
            <a:off x="9166225" y="1449388"/>
            <a:ext cx="144463" cy="4895850"/>
            <a:chOff x="9166242" y="1448781"/>
            <a:chExt cx="144000" cy="4896542"/>
          </a:xfrm>
        </p:grpSpPr>
        <p:sp>
          <p:nvSpPr>
            <p:cNvPr id="18" name="Freihandform 25"/>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19" name="Freihandform 47"/>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20" name="Freihandform 47"/>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sp>
        <p:nvSpPr>
          <p:cNvPr id="21" name="AutoShape 234"/>
          <p:cNvSpPr>
            <a:spLocks noChangeAspect="1" noChangeArrowheads="1" noTextEdit="1"/>
          </p:cNvSpPr>
          <p:nvPr userDrawn="1"/>
        </p:nvSpPr>
        <p:spPr bwMode="auto">
          <a:xfrm>
            <a:off x="5472113" y="1089025"/>
            <a:ext cx="1152525" cy="172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sk-SK"/>
          </a:p>
        </p:txBody>
      </p:sp>
      <p:sp>
        <p:nvSpPr>
          <p:cNvPr id="22" name="Freeform 237"/>
          <p:cNvSpPr>
            <a:spLocks/>
          </p:cNvSpPr>
          <p:nvPr userDrawn="1"/>
        </p:nvSpPr>
        <p:spPr bwMode="auto">
          <a:xfrm>
            <a:off x="5870575" y="1381125"/>
            <a:ext cx="355600" cy="231775"/>
          </a:xfrm>
          <a:custGeom>
            <a:avLst/>
            <a:gdLst>
              <a:gd name="T0" fmla="*/ 2147483646 w 5206"/>
              <a:gd name="T1" fmla="*/ 2147483646 h 3396"/>
              <a:gd name="T2" fmla="*/ 2147483646 w 5206"/>
              <a:gd name="T3" fmla="*/ 2147483646 h 3396"/>
              <a:gd name="T4" fmla="*/ 2147483646 w 5206"/>
              <a:gd name="T5" fmla="*/ 2147483646 h 3396"/>
              <a:gd name="T6" fmla="*/ 2147483646 w 5206"/>
              <a:gd name="T7" fmla="*/ 2147483646 h 3396"/>
              <a:gd name="T8" fmla="*/ 2147483646 w 5206"/>
              <a:gd name="T9" fmla="*/ 2147483646 h 3396"/>
              <a:gd name="T10" fmla="*/ 2147483646 w 5206"/>
              <a:gd name="T11" fmla="*/ 2147483646 h 3396"/>
              <a:gd name="T12" fmla="*/ 2147483646 w 5206"/>
              <a:gd name="T13" fmla="*/ 2147483646 h 3396"/>
              <a:gd name="T14" fmla="*/ 2147483646 w 5206"/>
              <a:gd name="T15" fmla="*/ 2147483646 h 3396"/>
              <a:gd name="T16" fmla="*/ 2147483646 w 5206"/>
              <a:gd name="T17" fmla="*/ 2147483646 h 3396"/>
              <a:gd name="T18" fmla="*/ 2147483646 w 5206"/>
              <a:gd name="T19" fmla="*/ 2147483646 h 3396"/>
              <a:gd name="T20" fmla="*/ 2147483646 w 5206"/>
              <a:gd name="T21" fmla="*/ 2147483646 h 3396"/>
              <a:gd name="T22" fmla="*/ 2147483646 w 5206"/>
              <a:gd name="T23" fmla="*/ 2147483646 h 3396"/>
              <a:gd name="T24" fmla="*/ 2147483646 w 5206"/>
              <a:gd name="T25" fmla="*/ 2147483646 h 3396"/>
              <a:gd name="T26" fmla="*/ 2147483646 w 5206"/>
              <a:gd name="T27" fmla="*/ 2147483646 h 3396"/>
              <a:gd name="T28" fmla="*/ 2147483646 w 5206"/>
              <a:gd name="T29" fmla="*/ 2147483646 h 3396"/>
              <a:gd name="T30" fmla="*/ 2147483646 w 5206"/>
              <a:gd name="T31" fmla="*/ 2147483646 h 3396"/>
              <a:gd name="T32" fmla="*/ 2147483646 w 5206"/>
              <a:gd name="T33" fmla="*/ 2147483646 h 3396"/>
              <a:gd name="T34" fmla="*/ 2147483646 w 5206"/>
              <a:gd name="T35" fmla="*/ 2147483646 h 3396"/>
              <a:gd name="T36" fmla="*/ 2147483646 w 5206"/>
              <a:gd name="T37" fmla="*/ 2147483646 h 3396"/>
              <a:gd name="T38" fmla="*/ 2147483646 w 5206"/>
              <a:gd name="T39" fmla="*/ 2147483646 h 3396"/>
              <a:gd name="T40" fmla="*/ 2147483646 w 5206"/>
              <a:gd name="T41" fmla="*/ 2147483646 h 3396"/>
              <a:gd name="T42" fmla="*/ 2147483646 w 5206"/>
              <a:gd name="T43" fmla="*/ 2147483646 h 3396"/>
              <a:gd name="T44" fmla="*/ 2147483646 w 5206"/>
              <a:gd name="T45" fmla="*/ 2147483646 h 3396"/>
              <a:gd name="T46" fmla="*/ 2147483646 w 5206"/>
              <a:gd name="T47" fmla="*/ 2147483646 h 3396"/>
              <a:gd name="T48" fmla="*/ 2147483646 w 5206"/>
              <a:gd name="T49" fmla="*/ 2147483646 h 3396"/>
              <a:gd name="T50" fmla="*/ 2147483646 w 5206"/>
              <a:gd name="T51" fmla="*/ 2147483646 h 3396"/>
              <a:gd name="T52" fmla="*/ 2147483646 w 5206"/>
              <a:gd name="T53" fmla="*/ 2147483646 h 3396"/>
              <a:gd name="T54" fmla="*/ 2147483646 w 5206"/>
              <a:gd name="T55" fmla="*/ 2147483646 h 3396"/>
              <a:gd name="T56" fmla="*/ 2147483646 w 5206"/>
              <a:gd name="T57" fmla="*/ 2147483646 h 3396"/>
              <a:gd name="T58" fmla="*/ 2147483646 w 5206"/>
              <a:gd name="T59" fmla="*/ 2147483646 h 3396"/>
              <a:gd name="T60" fmla="*/ 2147483646 w 5206"/>
              <a:gd name="T61" fmla="*/ 2147483646 h 3396"/>
              <a:gd name="T62" fmla="*/ 2147483646 w 5206"/>
              <a:gd name="T63" fmla="*/ 2147483646 h 3396"/>
              <a:gd name="T64" fmla="*/ 2147483646 w 5206"/>
              <a:gd name="T65" fmla="*/ 2147483646 h 3396"/>
              <a:gd name="T66" fmla="*/ 2147483646 w 5206"/>
              <a:gd name="T67" fmla="*/ 2147483646 h 3396"/>
              <a:gd name="T68" fmla="*/ 2147483646 w 5206"/>
              <a:gd name="T69" fmla="*/ 2147483646 h 3396"/>
              <a:gd name="T70" fmla="*/ 2147483646 w 5206"/>
              <a:gd name="T71" fmla="*/ 2147483646 h 3396"/>
              <a:gd name="T72" fmla="*/ 2147483646 w 5206"/>
              <a:gd name="T73" fmla="*/ 2147483646 h 3396"/>
              <a:gd name="T74" fmla="*/ 2147483646 w 5206"/>
              <a:gd name="T75" fmla="*/ 2147483646 h 3396"/>
              <a:gd name="T76" fmla="*/ 2147483646 w 5206"/>
              <a:gd name="T77" fmla="*/ 2147483646 h 3396"/>
              <a:gd name="T78" fmla="*/ 2147483646 w 5206"/>
              <a:gd name="T79" fmla="*/ 2147483646 h 3396"/>
              <a:gd name="T80" fmla="*/ 2147483646 w 5206"/>
              <a:gd name="T81" fmla="*/ 2147483646 h 3396"/>
              <a:gd name="T82" fmla="*/ 2147483646 w 5206"/>
              <a:gd name="T83" fmla="*/ 2147483646 h 3396"/>
              <a:gd name="T84" fmla="*/ 2147483646 w 5206"/>
              <a:gd name="T85" fmla="*/ 2147483646 h 3396"/>
              <a:gd name="T86" fmla="*/ 2147483646 w 5206"/>
              <a:gd name="T87" fmla="*/ 2147483646 h 3396"/>
              <a:gd name="T88" fmla="*/ 2147483646 w 5206"/>
              <a:gd name="T89" fmla="*/ 2147483646 h 3396"/>
              <a:gd name="T90" fmla="*/ 2147483646 w 5206"/>
              <a:gd name="T91" fmla="*/ 2147483646 h 3396"/>
              <a:gd name="T92" fmla="*/ 2147483646 w 5206"/>
              <a:gd name="T93" fmla="*/ 2147483646 h 3396"/>
              <a:gd name="T94" fmla="*/ 2147483646 w 5206"/>
              <a:gd name="T95" fmla="*/ 2147483646 h 3396"/>
              <a:gd name="T96" fmla="*/ 2147483646 w 5206"/>
              <a:gd name="T97" fmla="*/ 2147483646 h 3396"/>
              <a:gd name="T98" fmla="*/ 2147483646 w 5206"/>
              <a:gd name="T99" fmla="*/ 2147483646 h 3396"/>
              <a:gd name="T100" fmla="*/ 0 w 5206"/>
              <a:gd name="T101" fmla="*/ 2147483646 h 3396"/>
              <a:gd name="T102" fmla="*/ 2147483646 w 5206"/>
              <a:gd name="T103" fmla="*/ 2147483646 h 3396"/>
              <a:gd name="T104" fmla="*/ 2147483646 w 5206"/>
              <a:gd name="T105" fmla="*/ 2147483646 h 3396"/>
              <a:gd name="T106" fmla="*/ 2147483646 w 5206"/>
              <a:gd name="T107" fmla="*/ 2147483646 h 3396"/>
              <a:gd name="T108" fmla="*/ 2147483646 w 5206"/>
              <a:gd name="T109" fmla="*/ 2147483646 h 3396"/>
              <a:gd name="T110" fmla="*/ 2147483646 w 5206"/>
              <a:gd name="T111" fmla="*/ 2147483646 h 3396"/>
              <a:gd name="T112" fmla="*/ 2147483646 w 5206"/>
              <a:gd name="T113" fmla="*/ 2147483646 h 3396"/>
              <a:gd name="T114" fmla="*/ 2147483646 w 5206"/>
              <a:gd name="T115" fmla="*/ 2147483646 h 3396"/>
              <a:gd name="T116" fmla="*/ 2147483646 w 5206"/>
              <a:gd name="T117" fmla="*/ 2147483646 h 3396"/>
              <a:gd name="T118" fmla="*/ 2147483646 w 5206"/>
              <a:gd name="T119" fmla="*/ 2147483646 h 3396"/>
              <a:gd name="T120" fmla="*/ 2147483646 w 5206"/>
              <a:gd name="T121" fmla="*/ 2147483646 h 3396"/>
              <a:gd name="T122" fmla="*/ 2147483646 w 5206"/>
              <a:gd name="T123" fmla="*/ 2147483646 h 339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06" h="3396">
                <a:moveTo>
                  <a:pt x="4028" y="1218"/>
                </a:moveTo>
                <a:lnTo>
                  <a:pt x="4028" y="1218"/>
                </a:lnTo>
                <a:lnTo>
                  <a:pt x="4118" y="1188"/>
                </a:lnTo>
                <a:lnTo>
                  <a:pt x="4202" y="1162"/>
                </a:lnTo>
                <a:lnTo>
                  <a:pt x="4280" y="1140"/>
                </a:lnTo>
                <a:lnTo>
                  <a:pt x="4352" y="1122"/>
                </a:lnTo>
                <a:lnTo>
                  <a:pt x="4416" y="1108"/>
                </a:lnTo>
                <a:lnTo>
                  <a:pt x="4476" y="1096"/>
                </a:lnTo>
                <a:lnTo>
                  <a:pt x="4528" y="1090"/>
                </a:lnTo>
                <a:lnTo>
                  <a:pt x="4572" y="1088"/>
                </a:lnTo>
                <a:lnTo>
                  <a:pt x="4594" y="1090"/>
                </a:lnTo>
                <a:lnTo>
                  <a:pt x="4606" y="1092"/>
                </a:lnTo>
                <a:lnTo>
                  <a:pt x="4618" y="1094"/>
                </a:lnTo>
                <a:lnTo>
                  <a:pt x="4628" y="1098"/>
                </a:lnTo>
                <a:lnTo>
                  <a:pt x="4638" y="1104"/>
                </a:lnTo>
                <a:lnTo>
                  <a:pt x="4646" y="1112"/>
                </a:lnTo>
                <a:lnTo>
                  <a:pt x="4654" y="1120"/>
                </a:lnTo>
                <a:lnTo>
                  <a:pt x="4660" y="1130"/>
                </a:lnTo>
                <a:lnTo>
                  <a:pt x="4666" y="1142"/>
                </a:lnTo>
                <a:lnTo>
                  <a:pt x="4670" y="1152"/>
                </a:lnTo>
                <a:lnTo>
                  <a:pt x="4672" y="1164"/>
                </a:lnTo>
                <a:lnTo>
                  <a:pt x="4674" y="1184"/>
                </a:lnTo>
                <a:lnTo>
                  <a:pt x="4674" y="1206"/>
                </a:lnTo>
                <a:lnTo>
                  <a:pt x="4670" y="1224"/>
                </a:lnTo>
                <a:lnTo>
                  <a:pt x="4662" y="1266"/>
                </a:lnTo>
                <a:lnTo>
                  <a:pt x="4648" y="1316"/>
                </a:lnTo>
                <a:lnTo>
                  <a:pt x="4626" y="1372"/>
                </a:lnTo>
                <a:lnTo>
                  <a:pt x="4596" y="1436"/>
                </a:lnTo>
                <a:lnTo>
                  <a:pt x="4560" y="1510"/>
                </a:lnTo>
                <a:lnTo>
                  <a:pt x="4512" y="1592"/>
                </a:lnTo>
                <a:lnTo>
                  <a:pt x="4454" y="1684"/>
                </a:lnTo>
                <a:lnTo>
                  <a:pt x="4382" y="1784"/>
                </a:lnTo>
                <a:lnTo>
                  <a:pt x="4300" y="1896"/>
                </a:lnTo>
                <a:lnTo>
                  <a:pt x="4252" y="1954"/>
                </a:lnTo>
                <a:lnTo>
                  <a:pt x="4202" y="2016"/>
                </a:lnTo>
                <a:lnTo>
                  <a:pt x="4148" y="2082"/>
                </a:lnTo>
                <a:lnTo>
                  <a:pt x="4090" y="2148"/>
                </a:lnTo>
                <a:lnTo>
                  <a:pt x="4028" y="2218"/>
                </a:lnTo>
                <a:lnTo>
                  <a:pt x="3962" y="2292"/>
                </a:lnTo>
                <a:lnTo>
                  <a:pt x="3892" y="2366"/>
                </a:lnTo>
                <a:lnTo>
                  <a:pt x="3816" y="2446"/>
                </a:lnTo>
                <a:lnTo>
                  <a:pt x="3736" y="2528"/>
                </a:lnTo>
                <a:lnTo>
                  <a:pt x="3652" y="2612"/>
                </a:lnTo>
                <a:lnTo>
                  <a:pt x="3564" y="2700"/>
                </a:lnTo>
                <a:lnTo>
                  <a:pt x="3470" y="2790"/>
                </a:lnTo>
                <a:lnTo>
                  <a:pt x="3372" y="2884"/>
                </a:lnTo>
                <a:lnTo>
                  <a:pt x="3266" y="2980"/>
                </a:lnTo>
                <a:lnTo>
                  <a:pt x="3072" y="3162"/>
                </a:lnTo>
                <a:lnTo>
                  <a:pt x="3142" y="3182"/>
                </a:lnTo>
                <a:lnTo>
                  <a:pt x="3212" y="3204"/>
                </a:lnTo>
                <a:lnTo>
                  <a:pt x="3280" y="3230"/>
                </a:lnTo>
                <a:lnTo>
                  <a:pt x="3346" y="3258"/>
                </a:lnTo>
                <a:lnTo>
                  <a:pt x="3412" y="3288"/>
                </a:lnTo>
                <a:lnTo>
                  <a:pt x="3476" y="3322"/>
                </a:lnTo>
                <a:lnTo>
                  <a:pt x="3538" y="3358"/>
                </a:lnTo>
                <a:lnTo>
                  <a:pt x="3598" y="3396"/>
                </a:lnTo>
                <a:lnTo>
                  <a:pt x="3626" y="3370"/>
                </a:lnTo>
                <a:lnTo>
                  <a:pt x="3768" y="3236"/>
                </a:lnTo>
                <a:lnTo>
                  <a:pt x="3902" y="3108"/>
                </a:lnTo>
                <a:lnTo>
                  <a:pt x="4028" y="2986"/>
                </a:lnTo>
                <a:lnTo>
                  <a:pt x="4144" y="2868"/>
                </a:lnTo>
                <a:lnTo>
                  <a:pt x="4252" y="2754"/>
                </a:lnTo>
                <a:lnTo>
                  <a:pt x="4354" y="2646"/>
                </a:lnTo>
                <a:lnTo>
                  <a:pt x="4448" y="2542"/>
                </a:lnTo>
                <a:lnTo>
                  <a:pt x="4534" y="2442"/>
                </a:lnTo>
                <a:lnTo>
                  <a:pt x="4614" y="2348"/>
                </a:lnTo>
                <a:lnTo>
                  <a:pt x="4686" y="2258"/>
                </a:lnTo>
                <a:lnTo>
                  <a:pt x="4754" y="2170"/>
                </a:lnTo>
                <a:lnTo>
                  <a:pt x="4814" y="2088"/>
                </a:lnTo>
                <a:lnTo>
                  <a:pt x="4870" y="2010"/>
                </a:lnTo>
                <a:lnTo>
                  <a:pt x="4918" y="1938"/>
                </a:lnTo>
                <a:lnTo>
                  <a:pt x="4964" y="1868"/>
                </a:lnTo>
                <a:lnTo>
                  <a:pt x="5002" y="1800"/>
                </a:lnTo>
                <a:lnTo>
                  <a:pt x="5038" y="1738"/>
                </a:lnTo>
                <a:lnTo>
                  <a:pt x="5068" y="1680"/>
                </a:lnTo>
                <a:lnTo>
                  <a:pt x="5096" y="1624"/>
                </a:lnTo>
                <a:lnTo>
                  <a:pt x="5118" y="1572"/>
                </a:lnTo>
                <a:lnTo>
                  <a:pt x="5138" y="1524"/>
                </a:lnTo>
                <a:lnTo>
                  <a:pt x="5154" y="1478"/>
                </a:lnTo>
                <a:lnTo>
                  <a:pt x="5168" y="1436"/>
                </a:lnTo>
                <a:lnTo>
                  <a:pt x="5178" y="1396"/>
                </a:lnTo>
                <a:lnTo>
                  <a:pt x="5186" y="1360"/>
                </a:lnTo>
                <a:lnTo>
                  <a:pt x="5192" y="1326"/>
                </a:lnTo>
                <a:lnTo>
                  <a:pt x="5200" y="1268"/>
                </a:lnTo>
                <a:lnTo>
                  <a:pt x="5204" y="1220"/>
                </a:lnTo>
                <a:lnTo>
                  <a:pt x="5206" y="1180"/>
                </a:lnTo>
                <a:lnTo>
                  <a:pt x="5204" y="1148"/>
                </a:lnTo>
                <a:lnTo>
                  <a:pt x="5204" y="1114"/>
                </a:lnTo>
                <a:lnTo>
                  <a:pt x="5200" y="1082"/>
                </a:lnTo>
                <a:lnTo>
                  <a:pt x="5196" y="1050"/>
                </a:lnTo>
                <a:lnTo>
                  <a:pt x="5188" y="1020"/>
                </a:lnTo>
                <a:lnTo>
                  <a:pt x="5182" y="988"/>
                </a:lnTo>
                <a:lnTo>
                  <a:pt x="5172" y="958"/>
                </a:lnTo>
                <a:lnTo>
                  <a:pt x="5162" y="930"/>
                </a:lnTo>
                <a:lnTo>
                  <a:pt x="5150" y="902"/>
                </a:lnTo>
                <a:lnTo>
                  <a:pt x="5136" y="874"/>
                </a:lnTo>
                <a:lnTo>
                  <a:pt x="5120" y="848"/>
                </a:lnTo>
                <a:lnTo>
                  <a:pt x="5104" y="822"/>
                </a:lnTo>
                <a:lnTo>
                  <a:pt x="5086" y="796"/>
                </a:lnTo>
                <a:lnTo>
                  <a:pt x="5068" y="772"/>
                </a:lnTo>
                <a:lnTo>
                  <a:pt x="5048" y="748"/>
                </a:lnTo>
                <a:lnTo>
                  <a:pt x="5026" y="726"/>
                </a:lnTo>
                <a:lnTo>
                  <a:pt x="5004" y="706"/>
                </a:lnTo>
                <a:lnTo>
                  <a:pt x="4982" y="688"/>
                </a:lnTo>
                <a:lnTo>
                  <a:pt x="4960" y="670"/>
                </a:lnTo>
                <a:lnTo>
                  <a:pt x="4936" y="656"/>
                </a:lnTo>
                <a:lnTo>
                  <a:pt x="4912" y="640"/>
                </a:lnTo>
                <a:lnTo>
                  <a:pt x="4886" y="628"/>
                </a:lnTo>
                <a:lnTo>
                  <a:pt x="4860" y="616"/>
                </a:lnTo>
                <a:lnTo>
                  <a:pt x="4832" y="606"/>
                </a:lnTo>
                <a:lnTo>
                  <a:pt x="4804" y="596"/>
                </a:lnTo>
                <a:lnTo>
                  <a:pt x="4774" y="588"/>
                </a:lnTo>
                <a:lnTo>
                  <a:pt x="4744" y="582"/>
                </a:lnTo>
                <a:lnTo>
                  <a:pt x="4712" y="576"/>
                </a:lnTo>
                <a:lnTo>
                  <a:pt x="4680" y="572"/>
                </a:lnTo>
                <a:lnTo>
                  <a:pt x="4648" y="568"/>
                </a:lnTo>
                <a:lnTo>
                  <a:pt x="4614" y="566"/>
                </a:lnTo>
                <a:lnTo>
                  <a:pt x="4578" y="566"/>
                </a:lnTo>
                <a:lnTo>
                  <a:pt x="4536" y="566"/>
                </a:lnTo>
                <a:lnTo>
                  <a:pt x="4494" y="568"/>
                </a:lnTo>
                <a:lnTo>
                  <a:pt x="4448" y="572"/>
                </a:lnTo>
                <a:lnTo>
                  <a:pt x="4404" y="578"/>
                </a:lnTo>
                <a:lnTo>
                  <a:pt x="4356" y="586"/>
                </a:lnTo>
                <a:lnTo>
                  <a:pt x="4308" y="594"/>
                </a:lnTo>
                <a:lnTo>
                  <a:pt x="4208" y="616"/>
                </a:lnTo>
                <a:lnTo>
                  <a:pt x="4102" y="642"/>
                </a:lnTo>
                <a:lnTo>
                  <a:pt x="3992" y="674"/>
                </a:lnTo>
                <a:lnTo>
                  <a:pt x="3878" y="712"/>
                </a:lnTo>
                <a:lnTo>
                  <a:pt x="3758" y="754"/>
                </a:lnTo>
                <a:lnTo>
                  <a:pt x="3632" y="800"/>
                </a:lnTo>
                <a:lnTo>
                  <a:pt x="3500" y="850"/>
                </a:lnTo>
                <a:lnTo>
                  <a:pt x="3364" y="906"/>
                </a:lnTo>
                <a:lnTo>
                  <a:pt x="3224" y="966"/>
                </a:lnTo>
                <a:lnTo>
                  <a:pt x="2926" y="1094"/>
                </a:lnTo>
                <a:lnTo>
                  <a:pt x="2608" y="1234"/>
                </a:lnTo>
                <a:lnTo>
                  <a:pt x="2484" y="1292"/>
                </a:lnTo>
                <a:lnTo>
                  <a:pt x="2360" y="1350"/>
                </a:lnTo>
                <a:lnTo>
                  <a:pt x="2116" y="1468"/>
                </a:lnTo>
                <a:lnTo>
                  <a:pt x="1890" y="1578"/>
                </a:lnTo>
                <a:lnTo>
                  <a:pt x="1778" y="1632"/>
                </a:lnTo>
                <a:lnTo>
                  <a:pt x="1670" y="1682"/>
                </a:lnTo>
                <a:lnTo>
                  <a:pt x="1564" y="1728"/>
                </a:lnTo>
                <a:lnTo>
                  <a:pt x="1458" y="1770"/>
                </a:lnTo>
                <a:lnTo>
                  <a:pt x="1356" y="1810"/>
                </a:lnTo>
                <a:lnTo>
                  <a:pt x="1256" y="1842"/>
                </a:lnTo>
                <a:lnTo>
                  <a:pt x="1162" y="1872"/>
                </a:lnTo>
                <a:lnTo>
                  <a:pt x="1076" y="1896"/>
                </a:lnTo>
                <a:lnTo>
                  <a:pt x="996" y="1916"/>
                </a:lnTo>
                <a:lnTo>
                  <a:pt x="920" y="1932"/>
                </a:lnTo>
                <a:lnTo>
                  <a:pt x="852" y="1946"/>
                </a:lnTo>
                <a:lnTo>
                  <a:pt x="790" y="1954"/>
                </a:lnTo>
                <a:lnTo>
                  <a:pt x="732" y="1960"/>
                </a:lnTo>
                <a:lnTo>
                  <a:pt x="678" y="1962"/>
                </a:lnTo>
                <a:lnTo>
                  <a:pt x="630" y="1960"/>
                </a:lnTo>
                <a:lnTo>
                  <a:pt x="586" y="1954"/>
                </a:lnTo>
                <a:lnTo>
                  <a:pt x="548" y="1946"/>
                </a:lnTo>
                <a:lnTo>
                  <a:pt x="530" y="1940"/>
                </a:lnTo>
                <a:lnTo>
                  <a:pt x="514" y="1932"/>
                </a:lnTo>
                <a:lnTo>
                  <a:pt x="490" y="1922"/>
                </a:lnTo>
                <a:lnTo>
                  <a:pt x="470" y="1906"/>
                </a:lnTo>
                <a:lnTo>
                  <a:pt x="452" y="1890"/>
                </a:lnTo>
                <a:lnTo>
                  <a:pt x="436" y="1872"/>
                </a:lnTo>
                <a:lnTo>
                  <a:pt x="422" y="1854"/>
                </a:lnTo>
                <a:lnTo>
                  <a:pt x="410" y="1834"/>
                </a:lnTo>
                <a:lnTo>
                  <a:pt x="400" y="1812"/>
                </a:lnTo>
                <a:lnTo>
                  <a:pt x="390" y="1790"/>
                </a:lnTo>
                <a:lnTo>
                  <a:pt x="384" y="1770"/>
                </a:lnTo>
                <a:lnTo>
                  <a:pt x="378" y="1748"/>
                </a:lnTo>
                <a:lnTo>
                  <a:pt x="370" y="1708"/>
                </a:lnTo>
                <a:lnTo>
                  <a:pt x="364" y="1672"/>
                </a:lnTo>
                <a:lnTo>
                  <a:pt x="362" y="1644"/>
                </a:lnTo>
                <a:lnTo>
                  <a:pt x="360" y="1634"/>
                </a:lnTo>
                <a:lnTo>
                  <a:pt x="358" y="1590"/>
                </a:lnTo>
                <a:lnTo>
                  <a:pt x="358" y="1546"/>
                </a:lnTo>
                <a:lnTo>
                  <a:pt x="362" y="1502"/>
                </a:lnTo>
                <a:lnTo>
                  <a:pt x="366" y="1458"/>
                </a:lnTo>
                <a:lnTo>
                  <a:pt x="372" y="1416"/>
                </a:lnTo>
                <a:lnTo>
                  <a:pt x="380" y="1376"/>
                </a:lnTo>
                <a:lnTo>
                  <a:pt x="396" y="1306"/>
                </a:lnTo>
                <a:lnTo>
                  <a:pt x="416" y="1232"/>
                </a:lnTo>
                <a:lnTo>
                  <a:pt x="436" y="1162"/>
                </a:lnTo>
                <a:lnTo>
                  <a:pt x="458" y="1096"/>
                </a:lnTo>
                <a:lnTo>
                  <a:pt x="482" y="1030"/>
                </a:lnTo>
                <a:lnTo>
                  <a:pt x="508" y="964"/>
                </a:lnTo>
                <a:lnTo>
                  <a:pt x="536" y="900"/>
                </a:lnTo>
                <a:lnTo>
                  <a:pt x="568" y="836"/>
                </a:lnTo>
                <a:lnTo>
                  <a:pt x="600" y="772"/>
                </a:lnTo>
                <a:lnTo>
                  <a:pt x="642" y="696"/>
                </a:lnTo>
                <a:lnTo>
                  <a:pt x="692" y="612"/>
                </a:lnTo>
                <a:lnTo>
                  <a:pt x="746" y="524"/>
                </a:lnTo>
                <a:lnTo>
                  <a:pt x="806" y="432"/>
                </a:lnTo>
                <a:lnTo>
                  <a:pt x="868" y="336"/>
                </a:lnTo>
                <a:lnTo>
                  <a:pt x="934" y="238"/>
                </a:lnTo>
                <a:lnTo>
                  <a:pt x="1072" y="38"/>
                </a:lnTo>
                <a:lnTo>
                  <a:pt x="1076" y="36"/>
                </a:lnTo>
                <a:lnTo>
                  <a:pt x="1078" y="26"/>
                </a:lnTo>
                <a:lnTo>
                  <a:pt x="1080" y="22"/>
                </a:lnTo>
                <a:lnTo>
                  <a:pt x="1080" y="16"/>
                </a:lnTo>
                <a:lnTo>
                  <a:pt x="1078" y="10"/>
                </a:lnTo>
                <a:lnTo>
                  <a:pt x="1072" y="6"/>
                </a:lnTo>
                <a:lnTo>
                  <a:pt x="1064" y="2"/>
                </a:lnTo>
                <a:lnTo>
                  <a:pt x="1056" y="0"/>
                </a:lnTo>
                <a:lnTo>
                  <a:pt x="1046" y="2"/>
                </a:lnTo>
                <a:lnTo>
                  <a:pt x="1040" y="6"/>
                </a:lnTo>
                <a:lnTo>
                  <a:pt x="1028" y="14"/>
                </a:lnTo>
                <a:lnTo>
                  <a:pt x="1024" y="18"/>
                </a:lnTo>
                <a:lnTo>
                  <a:pt x="926" y="124"/>
                </a:lnTo>
                <a:lnTo>
                  <a:pt x="824" y="238"/>
                </a:lnTo>
                <a:lnTo>
                  <a:pt x="768" y="302"/>
                </a:lnTo>
                <a:lnTo>
                  <a:pt x="710" y="370"/>
                </a:lnTo>
                <a:lnTo>
                  <a:pt x="608" y="498"/>
                </a:lnTo>
                <a:lnTo>
                  <a:pt x="508" y="630"/>
                </a:lnTo>
                <a:lnTo>
                  <a:pt x="416" y="754"/>
                </a:lnTo>
                <a:lnTo>
                  <a:pt x="376" y="812"/>
                </a:lnTo>
                <a:lnTo>
                  <a:pt x="344" y="864"/>
                </a:lnTo>
                <a:lnTo>
                  <a:pt x="306" y="922"/>
                </a:lnTo>
                <a:lnTo>
                  <a:pt x="272" y="982"/>
                </a:lnTo>
                <a:lnTo>
                  <a:pt x="238" y="1038"/>
                </a:lnTo>
                <a:lnTo>
                  <a:pt x="208" y="1096"/>
                </a:lnTo>
                <a:lnTo>
                  <a:pt x="180" y="1152"/>
                </a:lnTo>
                <a:lnTo>
                  <a:pt x="154" y="1206"/>
                </a:lnTo>
                <a:lnTo>
                  <a:pt x="128" y="1260"/>
                </a:lnTo>
                <a:lnTo>
                  <a:pt x="106" y="1312"/>
                </a:lnTo>
                <a:lnTo>
                  <a:pt x="86" y="1364"/>
                </a:lnTo>
                <a:lnTo>
                  <a:pt x="68" y="1414"/>
                </a:lnTo>
                <a:lnTo>
                  <a:pt x="52" y="1464"/>
                </a:lnTo>
                <a:lnTo>
                  <a:pt x="38" y="1512"/>
                </a:lnTo>
                <a:lnTo>
                  <a:pt x="28" y="1560"/>
                </a:lnTo>
                <a:lnTo>
                  <a:pt x="18" y="1606"/>
                </a:lnTo>
                <a:lnTo>
                  <a:pt x="10" y="1650"/>
                </a:lnTo>
                <a:lnTo>
                  <a:pt x="6" y="1696"/>
                </a:lnTo>
                <a:lnTo>
                  <a:pt x="2" y="1738"/>
                </a:lnTo>
                <a:lnTo>
                  <a:pt x="0" y="1780"/>
                </a:lnTo>
                <a:lnTo>
                  <a:pt x="2" y="1822"/>
                </a:lnTo>
                <a:lnTo>
                  <a:pt x="6" y="1862"/>
                </a:lnTo>
                <a:lnTo>
                  <a:pt x="10" y="1902"/>
                </a:lnTo>
                <a:lnTo>
                  <a:pt x="18" y="1940"/>
                </a:lnTo>
                <a:lnTo>
                  <a:pt x="28" y="1978"/>
                </a:lnTo>
                <a:lnTo>
                  <a:pt x="40" y="2014"/>
                </a:lnTo>
                <a:lnTo>
                  <a:pt x="54" y="2048"/>
                </a:lnTo>
                <a:lnTo>
                  <a:pt x="68" y="2082"/>
                </a:lnTo>
                <a:lnTo>
                  <a:pt x="86" y="2116"/>
                </a:lnTo>
                <a:lnTo>
                  <a:pt x="108" y="2148"/>
                </a:lnTo>
                <a:lnTo>
                  <a:pt x="130" y="2178"/>
                </a:lnTo>
                <a:lnTo>
                  <a:pt x="154" y="2208"/>
                </a:lnTo>
                <a:lnTo>
                  <a:pt x="180" y="2236"/>
                </a:lnTo>
                <a:lnTo>
                  <a:pt x="208" y="2264"/>
                </a:lnTo>
                <a:lnTo>
                  <a:pt x="232" y="2284"/>
                </a:lnTo>
                <a:lnTo>
                  <a:pt x="256" y="2304"/>
                </a:lnTo>
                <a:lnTo>
                  <a:pt x="282" y="2320"/>
                </a:lnTo>
                <a:lnTo>
                  <a:pt x="308" y="2336"/>
                </a:lnTo>
                <a:lnTo>
                  <a:pt x="336" y="2352"/>
                </a:lnTo>
                <a:lnTo>
                  <a:pt x="364" y="2366"/>
                </a:lnTo>
                <a:lnTo>
                  <a:pt x="392" y="2378"/>
                </a:lnTo>
                <a:lnTo>
                  <a:pt x="424" y="2388"/>
                </a:lnTo>
                <a:lnTo>
                  <a:pt x="454" y="2398"/>
                </a:lnTo>
                <a:lnTo>
                  <a:pt x="488" y="2406"/>
                </a:lnTo>
                <a:lnTo>
                  <a:pt x="520" y="2414"/>
                </a:lnTo>
                <a:lnTo>
                  <a:pt x="556" y="2420"/>
                </a:lnTo>
                <a:lnTo>
                  <a:pt x="592" y="2424"/>
                </a:lnTo>
                <a:lnTo>
                  <a:pt x="628" y="2426"/>
                </a:lnTo>
                <a:lnTo>
                  <a:pt x="666" y="2428"/>
                </a:lnTo>
                <a:lnTo>
                  <a:pt x="706" y="2430"/>
                </a:lnTo>
                <a:lnTo>
                  <a:pt x="756" y="2428"/>
                </a:lnTo>
                <a:lnTo>
                  <a:pt x="808" y="2426"/>
                </a:lnTo>
                <a:lnTo>
                  <a:pt x="860" y="2420"/>
                </a:lnTo>
                <a:lnTo>
                  <a:pt x="914" y="2414"/>
                </a:lnTo>
                <a:lnTo>
                  <a:pt x="970" y="2406"/>
                </a:lnTo>
                <a:lnTo>
                  <a:pt x="1028" y="2396"/>
                </a:lnTo>
                <a:lnTo>
                  <a:pt x="1086" y="2384"/>
                </a:lnTo>
                <a:lnTo>
                  <a:pt x="1144" y="2370"/>
                </a:lnTo>
                <a:lnTo>
                  <a:pt x="1266" y="2338"/>
                </a:lnTo>
                <a:lnTo>
                  <a:pt x="1392" y="2300"/>
                </a:lnTo>
                <a:lnTo>
                  <a:pt x="1522" y="2258"/>
                </a:lnTo>
                <a:lnTo>
                  <a:pt x="1656" y="2212"/>
                </a:lnTo>
                <a:lnTo>
                  <a:pt x="1794" y="2160"/>
                </a:lnTo>
                <a:lnTo>
                  <a:pt x="1934" y="2104"/>
                </a:lnTo>
                <a:lnTo>
                  <a:pt x="2078" y="2046"/>
                </a:lnTo>
                <a:lnTo>
                  <a:pt x="2222" y="1984"/>
                </a:lnTo>
                <a:lnTo>
                  <a:pt x="2520" y="1854"/>
                </a:lnTo>
                <a:lnTo>
                  <a:pt x="2824" y="1718"/>
                </a:lnTo>
                <a:lnTo>
                  <a:pt x="3148" y="1574"/>
                </a:lnTo>
                <a:lnTo>
                  <a:pt x="3306" y="1506"/>
                </a:lnTo>
                <a:lnTo>
                  <a:pt x="3460" y="1440"/>
                </a:lnTo>
                <a:lnTo>
                  <a:pt x="3608" y="1376"/>
                </a:lnTo>
                <a:lnTo>
                  <a:pt x="3754" y="1318"/>
                </a:lnTo>
                <a:lnTo>
                  <a:pt x="3894" y="1264"/>
                </a:lnTo>
                <a:lnTo>
                  <a:pt x="4028" y="12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sk-SK"/>
          </a:p>
        </p:txBody>
      </p:sp>
      <p:sp>
        <p:nvSpPr>
          <p:cNvPr id="23" name="Freeform 242"/>
          <p:cNvSpPr>
            <a:spLocks/>
          </p:cNvSpPr>
          <p:nvPr userDrawn="1"/>
        </p:nvSpPr>
        <p:spPr bwMode="auto">
          <a:xfrm>
            <a:off x="5903913" y="1089025"/>
            <a:ext cx="288925" cy="287338"/>
          </a:xfrm>
          <a:custGeom>
            <a:avLst/>
            <a:gdLst>
              <a:gd name="T0" fmla="*/ 2147483646 w 4206"/>
              <a:gd name="T1" fmla="*/ 2147483646 h 4206"/>
              <a:gd name="T2" fmla="*/ 2147483646 w 4206"/>
              <a:gd name="T3" fmla="*/ 2147483646 h 4206"/>
              <a:gd name="T4" fmla="*/ 2147483646 w 4206"/>
              <a:gd name="T5" fmla="*/ 2147483646 h 4206"/>
              <a:gd name="T6" fmla="*/ 2147483646 w 4206"/>
              <a:gd name="T7" fmla="*/ 2147483646 h 4206"/>
              <a:gd name="T8" fmla="*/ 2147483646 w 4206"/>
              <a:gd name="T9" fmla="*/ 2147483646 h 4206"/>
              <a:gd name="T10" fmla="*/ 2147483646 w 4206"/>
              <a:gd name="T11" fmla="*/ 2147483646 h 4206"/>
              <a:gd name="T12" fmla="*/ 2147483646 w 4206"/>
              <a:gd name="T13" fmla="*/ 2147483646 h 4206"/>
              <a:gd name="T14" fmla="*/ 2147483646 w 4206"/>
              <a:gd name="T15" fmla="*/ 2147483646 h 4206"/>
              <a:gd name="T16" fmla="*/ 2147483646 w 4206"/>
              <a:gd name="T17" fmla="*/ 2147483646 h 4206"/>
              <a:gd name="T18" fmla="*/ 2147483646 w 4206"/>
              <a:gd name="T19" fmla="*/ 2147483646 h 4206"/>
              <a:gd name="T20" fmla="*/ 2147483646 w 4206"/>
              <a:gd name="T21" fmla="*/ 2147483646 h 4206"/>
              <a:gd name="T22" fmla="*/ 2147483646 w 4206"/>
              <a:gd name="T23" fmla="*/ 2147483646 h 4206"/>
              <a:gd name="T24" fmla="*/ 0 w 4206"/>
              <a:gd name="T25" fmla="*/ 2147483646 h 4206"/>
              <a:gd name="T26" fmla="*/ 2147483646 w 4206"/>
              <a:gd name="T27" fmla="*/ 2147483646 h 4206"/>
              <a:gd name="T28" fmla="*/ 2147483646 w 4206"/>
              <a:gd name="T29" fmla="*/ 2147483646 h 4206"/>
              <a:gd name="T30" fmla="*/ 2147483646 w 4206"/>
              <a:gd name="T31" fmla="*/ 2147483646 h 4206"/>
              <a:gd name="T32" fmla="*/ 2147483646 w 4206"/>
              <a:gd name="T33" fmla="*/ 2147483646 h 4206"/>
              <a:gd name="T34" fmla="*/ 2147483646 w 4206"/>
              <a:gd name="T35" fmla="*/ 2147483646 h 4206"/>
              <a:gd name="T36" fmla="*/ 2147483646 w 4206"/>
              <a:gd name="T37" fmla="*/ 2147483646 h 4206"/>
              <a:gd name="T38" fmla="*/ 2147483646 w 4206"/>
              <a:gd name="T39" fmla="*/ 2147483646 h 4206"/>
              <a:gd name="T40" fmla="*/ 2147483646 w 4206"/>
              <a:gd name="T41" fmla="*/ 2147483646 h 4206"/>
              <a:gd name="T42" fmla="*/ 2147483646 w 4206"/>
              <a:gd name="T43" fmla="*/ 2147483646 h 4206"/>
              <a:gd name="T44" fmla="*/ 2147483646 w 4206"/>
              <a:gd name="T45" fmla="*/ 2147483646 h 4206"/>
              <a:gd name="T46" fmla="*/ 2147483646 w 4206"/>
              <a:gd name="T47" fmla="*/ 2147483646 h 4206"/>
              <a:gd name="T48" fmla="*/ 2147483646 w 4206"/>
              <a:gd name="T49" fmla="*/ 2147483646 h 4206"/>
              <a:gd name="T50" fmla="*/ 2147483646 w 4206"/>
              <a:gd name="T51" fmla="*/ 0 h 4206"/>
              <a:gd name="T52" fmla="*/ 2147483646 w 4206"/>
              <a:gd name="T53" fmla="*/ 2147483646 h 4206"/>
              <a:gd name="T54" fmla="*/ 2147483646 w 4206"/>
              <a:gd name="T55" fmla="*/ 2147483646 h 4206"/>
              <a:gd name="T56" fmla="*/ 2147483646 w 4206"/>
              <a:gd name="T57" fmla="*/ 2147483646 h 4206"/>
              <a:gd name="T58" fmla="*/ 2147483646 w 4206"/>
              <a:gd name="T59" fmla="*/ 2147483646 h 4206"/>
              <a:gd name="T60" fmla="*/ 2147483646 w 4206"/>
              <a:gd name="T61" fmla="*/ 2147483646 h 4206"/>
              <a:gd name="T62" fmla="*/ 2147483646 w 4206"/>
              <a:gd name="T63" fmla="*/ 2147483646 h 4206"/>
              <a:gd name="T64" fmla="*/ 2147483646 w 4206"/>
              <a:gd name="T65" fmla="*/ 2147483646 h 4206"/>
              <a:gd name="T66" fmla="*/ 2147483646 w 4206"/>
              <a:gd name="T67" fmla="*/ 2147483646 h 4206"/>
              <a:gd name="T68" fmla="*/ 2147483646 w 4206"/>
              <a:gd name="T69" fmla="*/ 2147483646 h 4206"/>
              <a:gd name="T70" fmla="*/ 2147483646 w 4206"/>
              <a:gd name="T71" fmla="*/ 2147483646 h 4206"/>
              <a:gd name="T72" fmla="*/ 2147483646 w 4206"/>
              <a:gd name="T73" fmla="*/ 2147483646 h 4206"/>
              <a:gd name="T74" fmla="*/ 2147483646 w 4206"/>
              <a:gd name="T75" fmla="*/ 2147483646 h 4206"/>
              <a:gd name="T76" fmla="*/ 2147483646 w 4206"/>
              <a:gd name="T77" fmla="*/ 2147483646 h 4206"/>
              <a:gd name="T78" fmla="*/ 2147483646 w 4206"/>
              <a:gd name="T79" fmla="*/ 2147483646 h 4206"/>
              <a:gd name="T80" fmla="*/ 2147483646 w 4206"/>
              <a:gd name="T81" fmla="*/ 2147483646 h 4206"/>
              <a:gd name="T82" fmla="*/ 2147483646 w 4206"/>
              <a:gd name="T83" fmla="*/ 2147483646 h 4206"/>
              <a:gd name="T84" fmla="*/ 2147483646 w 4206"/>
              <a:gd name="T85" fmla="*/ 2147483646 h 4206"/>
              <a:gd name="T86" fmla="*/ 2147483646 w 4206"/>
              <a:gd name="T87" fmla="*/ 2147483646 h 4206"/>
              <a:gd name="T88" fmla="*/ 2147483646 w 4206"/>
              <a:gd name="T89" fmla="*/ 2147483646 h 4206"/>
              <a:gd name="T90" fmla="*/ 2147483646 w 4206"/>
              <a:gd name="T91" fmla="*/ 2147483646 h 4206"/>
              <a:gd name="T92" fmla="*/ 2147483646 w 4206"/>
              <a:gd name="T93" fmla="*/ 2147483646 h 4206"/>
              <a:gd name="T94" fmla="*/ 2147483646 w 4206"/>
              <a:gd name="T95" fmla="*/ 2147483646 h 4206"/>
              <a:gd name="T96" fmla="*/ 2147483646 w 4206"/>
              <a:gd name="T97" fmla="*/ 2147483646 h 4206"/>
              <a:gd name="T98" fmla="*/ 2147483646 w 4206"/>
              <a:gd name="T99" fmla="*/ 2147483646 h 4206"/>
              <a:gd name="T100" fmla="*/ 2147483646 w 4206"/>
              <a:gd name="T101" fmla="*/ 2147483646 h 4206"/>
              <a:gd name="T102" fmla="*/ 2147483646 w 4206"/>
              <a:gd name="T103" fmla="*/ 2147483646 h 420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206" h="4206">
                <a:moveTo>
                  <a:pt x="2102" y="4206"/>
                </a:moveTo>
                <a:lnTo>
                  <a:pt x="2102" y="4206"/>
                </a:lnTo>
                <a:lnTo>
                  <a:pt x="2048" y="4204"/>
                </a:lnTo>
                <a:lnTo>
                  <a:pt x="1994" y="4202"/>
                </a:lnTo>
                <a:lnTo>
                  <a:pt x="1942" y="4200"/>
                </a:lnTo>
                <a:lnTo>
                  <a:pt x="1888" y="4194"/>
                </a:lnTo>
                <a:lnTo>
                  <a:pt x="1836" y="4188"/>
                </a:lnTo>
                <a:lnTo>
                  <a:pt x="1784" y="4182"/>
                </a:lnTo>
                <a:lnTo>
                  <a:pt x="1732" y="4172"/>
                </a:lnTo>
                <a:lnTo>
                  <a:pt x="1680" y="4162"/>
                </a:lnTo>
                <a:lnTo>
                  <a:pt x="1628" y="4152"/>
                </a:lnTo>
                <a:lnTo>
                  <a:pt x="1578" y="4140"/>
                </a:lnTo>
                <a:lnTo>
                  <a:pt x="1528" y="4126"/>
                </a:lnTo>
                <a:lnTo>
                  <a:pt x="1478" y="4110"/>
                </a:lnTo>
                <a:lnTo>
                  <a:pt x="1430" y="4094"/>
                </a:lnTo>
                <a:lnTo>
                  <a:pt x="1380" y="4078"/>
                </a:lnTo>
                <a:lnTo>
                  <a:pt x="1332" y="4060"/>
                </a:lnTo>
                <a:lnTo>
                  <a:pt x="1286" y="4040"/>
                </a:lnTo>
                <a:lnTo>
                  <a:pt x="1238" y="4020"/>
                </a:lnTo>
                <a:lnTo>
                  <a:pt x="1192" y="3998"/>
                </a:lnTo>
                <a:lnTo>
                  <a:pt x="1146" y="3976"/>
                </a:lnTo>
                <a:lnTo>
                  <a:pt x="1102" y="3952"/>
                </a:lnTo>
                <a:lnTo>
                  <a:pt x="1058" y="3926"/>
                </a:lnTo>
                <a:lnTo>
                  <a:pt x="1014" y="3900"/>
                </a:lnTo>
                <a:lnTo>
                  <a:pt x="970" y="3874"/>
                </a:lnTo>
                <a:lnTo>
                  <a:pt x="928" y="3846"/>
                </a:lnTo>
                <a:lnTo>
                  <a:pt x="886" y="3818"/>
                </a:lnTo>
                <a:lnTo>
                  <a:pt x="846" y="3788"/>
                </a:lnTo>
                <a:lnTo>
                  <a:pt x="806" y="3756"/>
                </a:lnTo>
                <a:lnTo>
                  <a:pt x="766" y="3724"/>
                </a:lnTo>
                <a:lnTo>
                  <a:pt x="728" y="3692"/>
                </a:lnTo>
                <a:lnTo>
                  <a:pt x="690" y="3658"/>
                </a:lnTo>
                <a:lnTo>
                  <a:pt x="652" y="3624"/>
                </a:lnTo>
                <a:lnTo>
                  <a:pt x="616" y="3590"/>
                </a:lnTo>
                <a:lnTo>
                  <a:pt x="582" y="3552"/>
                </a:lnTo>
                <a:lnTo>
                  <a:pt x="548" y="3516"/>
                </a:lnTo>
                <a:lnTo>
                  <a:pt x="514" y="3478"/>
                </a:lnTo>
                <a:lnTo>
                  <a:pt x="482" y="3440"/>
                </a:lnTo>
                <a:lnTo>
                  <a:pt x="450" y="3400"/>
                </a:lnTo>
                <a:lnTo>
                  <a:pt x="418" y="3360"/>
                </a:lnTo>
                <a:lnTo>
                  <a:pt x="388" y="3320"/>
                </a:lnTo>
                <a:lnTo>
                  <a:pt x="360" y="3278"/>
                </a:lnTo>
                <a:lnTo>
                  <a:pt x="332" y="3236"/>
                </a:lnTo>
                <a:lnTo>
                  <a:pt x="306" y="3192"/>
                </a:lnTo>
                <a:lnTo>
                  <a:pt x="280" y="3148"/>
                </a:lnTo>
                <a:lnTo>
                  <a:pt x="254" y="3104"/>
                </a:lnTo>
                <a:lnTo>
                  <a:pt x="230" y="3060"/>
                </a:lnTo>
                <a:lnTo>
                  <a:pt x="208" y="3014"/>
                </a:lnTo>
                <a:lnTo>
                  <a:pt x="186" y="2968"/>
                </a:lnTo>
                <a:lnTo>
                  <a:pt x="166" y="2920"/>
                </a:lnTo>
                <a:lnTo>
                  <a:pt x="146" y="2874"/>
                </a:lnTo>
                <a:lnTo>
                  <a:pt x="128" y="2826"/>
                </a:lnTo>
                <a:lnTo>
                  <a:pt x="110" y="2776"/>
                </a:lnTo>
                <a:lnTo>
                  <a:pt x="94" y="2728"/>
                </a:lnTo>
                <a:lnTo>
                  <a:pt x="80" y="2678"/>
                </a:lnTo>
                <a:lnTo>
                  <a:pt x="66" y="2628"/>
                </a:lnTo>
                <a:lnTo>
                  <a:pt x="54" y="2578"/>
                </a:lnTo>
                <a:lnTo>
                  <a:pt x="44" y="2526"/>
                </a:lnTo>
                <a:lnTo>
                  <a:pt x="34" y="2474"/>
                </a:lnTo>
                <a:lnTo>
                  <a:pt x="24" y="2422"/>
                </a:lnTo>
                <a:lnTo>
                  <a:pt x="18" y="2370"/>
                </a:lnTo>
                <a:lnTo>
                  <a:pt x="12" y="2318"/>
                </a:lnTo>
                <a:lnTo>
                  <a:pt x="6" y="2264"/>
                </a:lnTo>
                <a:lnTo>
                  <a:pt x="4" y="2212"/>
                </a:lnTo>
                <a:lnTo>
                  <a:pt x="0" y="2158"/>
                </a:lnTo>
                <a:lnTo>
                  <a:pt x="0" y="2102"/>
                </a:lnTo>
                <a:lnTo>
                  <a:pt x="0" y="2048"/>
                </a:lnTo>
                <a:lnTo>
                  <a:pt x="4" y="1994"/>
                </a:lnTo>
                <a:lnTo>
                  <a:pt x="6" y="1942"/>
                </a:lnTo>
                <a:lnTo>
                  <a:pt x="12" y="1888"/>
                </a:lnTo>
                <a:lnTo>
                  <a:pt x="18" y="1836"/>
                </a:lnTo>
                <a:lnTo>
                  <a:pt x="24" y="1784"/>
                </a:lnTo>
                <a:lnTo>
                  <a:pt x="34" y="1732"/>
                </a:lnTo>
                <a:lnTo>
                  <a:pt x="44" y="1680"/>
                </a:lnTo>
                <a:lnTo>
                  <a:pt x="54" y="1628"/>
                </a:lnTo>
                <a:lnTo>
                  <a:pt x="66" y="1578"/>
                </a:lnTo>
                <a:lnTo>
                  <a:pt x="80" y="1528"/>
                </a:lnTo>
                <a:lnTo>
                  <a:pt x="94" y="1478"/>
                </a:lnTo>
                <a:lnTo>
                  <a:pt x="110" y="1430"/>
                </a:lnTo>
                <a:lnTo>
                  <a:pt x="128" y="1380"/>
                </a:lnTo>
                <a:lnTo>
                  <a:pt x="146" y="1332"/>
                </a:lnTo>
                <a:lnTo>
                  <a:pt x="166" y="1286"/>
                </a:lnTo>
                <a:lnTo>
                  <a:pt x="186" y="1238"/>
                </a:lnTo>
                <a:lnTo>
                  <a:pt x="208" y="1192"/>
                </a:lnTo>
                <a:lnTo>
                  <a:pt x="230" y="1146"/>
                </a:lnTo>
                <a:lnTo>
                  <a:pt x="254" y="1102"/>
                </a:lnTo>
                <a:lnTo>
                  <a:pt x="280" y="1058"/>
                </a:lnTo>
                <a:lnTo>
                  <a:pt x="306" y="1014"/>
                </a:lnTo>
                <a:lnTo>
                  <a:pt x="332" y="970"/>
                </a:lnTo>
                <a:lnTo>
                  <a:pt x="360" y="928"/>
                </a:lnTo>
                <a:lnTo>
                  <a:pt x="388" y="886"/>
                </a:lnTo>
                <a:lnTo>
                  <a:pt x="418" y="846"/>
                </a:lnTo>
                <a:lnTo>
                  <a:pt x="450" y="806"/>
                </a:lnTo>
                <a:lnTo>
                  <a:pt x="482" y="766"/>
                </a:lnTo>
                <a:lnTo>
                  <a:pt x="514" y="728"/>
                </a:lnTo>
                <a:lnTo>
                  <a:pt x="548" y="690"/>
                </a:lnTo>
                <a:lnTo>
                  <a:pt x="582" y="652"/>
                </a:lnTo>
                <a:lnTo>
                  <a:pt x="616" y="616"/>
                </a:lnTo>
                <a:lnTo>
                  <a:pt x="652" y="582"/>
                </a:lnTo>
                <a:lnTo>
                  <a:pt x="690" y="548"/>
                </a:lnTo>
                <a:lnTo>
                  <a:pt x="728" y="514"/>
                </a:lnTo>
                <a:lnTo>
                  <a:pt x="766" y="482"/>
                </a:lnTo>
                <a:lnTo>
                  <a:pt x="806" y="450"/>
                </a:lnTo>
                <a:lnTo>
                  <a:pt x="846" y="418"/>
                </a:lnTo>
                <a:lnTo>
                  <a:pt x="886" y="388"/>
                </a:lnTo>
                <a:lnTo>
                  <a:pt x="928" y="360"/>
                </a:lnTo>
                <a:lnTo>
                  <a:pt x="970" y="332"/>
                </a:lnTo>
                <a:lnTo>
                  <a:pt x="1014" y="306"/>
                </a:lnTo>
                <a:lnTo>
                  <a:pt x="1058" y="280"/>
                </a:lnTo>
                <a:lnTo>
                  <a:pt x="1102" y="254"/>
                </a:lnTo>
                <a:lnTo>
                  <a:pt x="1146" y="230"/>
                </a:lnTo>
                <a:lnTo>
                  <a:pt x="1192" y="208"/>
                </a:lnTo>
                <a:lnTo>
                  <a:pt x="1238" y="186"/>
                </a:lnTo>
                <a:lnTo>
                  <a:pt x="1286" y="166"/>
                </a:lnTo>
                <a:lnTo>
                  <a:pt x="1332" y="146"/>
                </a:lnTo>
                <a:lnTo>
                  <a:pt x="1380" y="128"/>
                </a:lnTo>
                <a:lnTo>
                  <a:pt x="1430" y="110"/>
                </a:lnTo>
                <a:lnTo>
                  <a:pt x="1478" y="94"/>
                </a:lnTo>
                <a:lnTo>
                  <a:pt x="1528" y="80"/>
                </a:lnTo>
                <a:lnTo>
                  <a:pt x="1578" y="66"/>
                </a:lnTo>
                <a:lnTo>
                  <a:pt x="1628" y="54"/>
                </a:lnTo>
                <a:lnTo>
                  <a:pt x="1680" y="44"/>
                </a:lnTo>
                <a:lnTo>
                  <a:pt x="1732" y="34"/>
                </a:lnTo>
                <a:lnTo>
                  <a:pt x="1784" y="24"/>
                </a:lnTo>
                <a:lnTo>
                  <a:pt x="1836" y="18"/>
                </a:lnTo>
                <a:lnTo>
                  <a:pt x="1888" y="12"/>
                </a:lnTo>
                <a:lnTo>
                  <a:pt x="1942" y="6"/>
                </a:lnTo>
                <a:lnTo>
                  <a:pt x="1994" y="4"/>
                </a:lnTo>
                <a:lnTo>
                  <a:pt x="2048" y="0"/>
                </a:lnTo>
                <a:lnTo>
                  <a:pt x="2102" y="0"/>
                </a:lnTo>
                <a:lnTo>
                  <a:pt x="2158" y="0"/>
                </a:lnTo>
                <a:lnTo>
                  <a:pt x="2210" y="4"/>
                </a:lnTo>
                <a:lnTo>
                  <a:pt x="2264" y="6"/>
                </a:lnTo>
                <a:lnTo>
                  <a:pt x="2318" y="12"/>
                </a:lnTo>
                <a:lnTo>
                  <a:pt x="2370" y="18"/>
                </a:lnTo>
                <a:lnTo>
                  <a:pt x="2422" y="24"/>
                </a:lnTo>
                <a:lnTo>
                  <a:pt x="2474" y="34"/>
                </a:lnTo>
                <a:lnTo>
                  <a:pt x="2526" y="44"/>
                </a:lnTo>
                <a:lnTo>
                  <a:pt x="2578" y="54"/>
                </a:lnTo>
                <a:lnTo>
                  <a:pt x="2628" y="66"/>
                </a:lnTo>
                <a:lnTo>
                  <a:pt x="2678" y="80"/>
                </a:lnTo>
                <a:lnTo>
                  <a:pt x="2728" y="94"/>
                </a:lnTo>
                <a:lnTo>
                  <a:pt x="2776" y="110"/>
                </a:lnTo>
                <a:lnTo>
                  <a:pt x="2826" y="128"/>
                </a:lnTo>
                <a:lnTo>
                  <a:pt x="2874" y="146"/>
                </a:lnTo>
                <a:lnTo>
                  <a:pt x="2920" y="166"/>
                </a:lnTo>
                <a:lnTo>
                  <a:pt x="2968" y="186"/>
                </a:lnTo>
                <a:lnTo>
                  <a:pt x="3014" y="208"/>
                </a:lnTo>
                <a:lnTo>
                  <a:pt x="3060" y="230"/>
                </a:lnTo>
                <a:lnTo>
                  <a:pt x="3104" y="254"/>
                </a:lnTo>
                <a:lnTo>
                  <a:pt x="3148" y="280"/>
                </a:lnTo>
                <a:lnTo>
                  <a:pt x="3192" y="306"/>
                </a:lnTo>
                <a:lnTo>
                  <a:pt x="3236" y="332"/>
                </a:lnTo>
                <a:lnTo>
                  <a:pt x="3278" y="360"/>
                </a:lnTo>
                <a:lnTo>
                  <a:pt x="3320" y="388"/>
                </a:lnTo>
                <a:lnTo>
                  <a:pt x="3360" y="418"/>
                </a:lnTo>
                <a:lnTo>
                  <a:pt x="3400" y="450"/>
                </a:lnTo>
                <a:lnTo>
                  <a:pt x="3440" y="482"/>
                </a:lnTo>
                <a:lnTo>
                  <a:pt x="3478" y="514"/>
                </a:lnTo>
                <a:lnTo>
                  <a:pt x="3516" y="548"/>
                </a:lnTo>
                <a:lnTo>
                  <a:pt x="3552" y="582"/>
                </a:lnTo>
                <a:lnTo>
                  <a:pt x="3590" y="616"/>
                </a:lnTo>
                <a:lnTo>
                  <a:pt x="3624" y="652"/>
                </a:lnTo>
                <a:lnTo>
                  <a:pt x="3658" y="690"/>
                </a:lnTo>
                <a:lnTo>
                  <a:pt x="3692" y="728"/>
                </a:lnTo>
                <a:lnTo>
                  <a:pt x="3724" y="766"/>
                </a:lnTo>
                <a:lnTo>
                  <a:pt x="3756" y="806"/>
                </a:lnTo>
                <a:lnTo>
                  <a:pt x="3788" y="846"/>
                </a:lnTo>
                <a:lnTo>
                  <a:pt x="3818" y="886"/>
                </a:lnTo>
                <a:lnTo>
                  <a:pt x="3846" y="928"/>
                </a:lnTo>
                <a:lnTo>
                  <a:pt x="3874" y="970"/>
                </a:lnTo>
                <a:lnTo>
                  <a:pt x="3900" y="1014"/>
                </a:lnTo>
                <a:lnTo>
                  <a:pt x="3926" y="1058"/>
                </a:lnTo>
                <a:lnTo>
                  <a:pt x="3952" y="1102"/>
                </a:lnTo>
                <a:lnTo>
                  <a:pt x="3976" y="1146"/>
                </a:lnTo>
                <a:lnTo>
                  <a:pt x="3998" y="1192"/>
                </a:lnTo>
                <a:lnTo>
                  <a:pt x="4020" y="1238"/>
                </a:lnTo>
                <a:lnTo>
                  <a:pt x="4040" y="1286"/>
                </a:lnTo>
                <a:lnTo>
                  <a:pt x="4060" y="1332"/>
                </a:lnTo>
                <a:lnTo>
                  <a:pt x="4078" y="1380"/>
                </a:lnTo>
                <a:lnTo>
                  <a:pt x="4094" y="1430"/>
                </a:lnTo>
                <a:lnTo>
                  <a:pt x="4110" y="1478"/>
                </a:lnTo>
                <a:lnTo>
                  <a:pt x="4126" y="1528"/>
                </a:lnTo>
                <a:lnTo>
                  <a:pt x="4140" y="1578"/>
                </a:lnTo>
                <a:lnTo>
                  <a:pt x="4152" y="1628"/>
                </a:lnTo>
                <a:lnTo>
                  <a:pt x="4162" y="1680"/>
                </a:lnTo>
                <a:lnTo>
                  <a:pt x="4172" y="1732"/>
                </a:lnTo>
                <a:lnTo>
                  <a:pt x="4182" y="1784"/>
                </a:lnTo>
                <a:lnTo>
                  <a:pt x="4188" y="1836"/>
                </a:lnTo>
                <a:lnTo>
                  <a:pt x="4194" y="1888"/>
                </a:lnTo>
                <a:lnTo>
                  <a:pt x="4200" y="1942"/>
                </a:lnTo>
                <a:lnTo>
                  <a:pt x="4202" y="1994"/>
                </a:lnTo>
                <a:lnTo>
                  <a:pt x="4204" y="2048"/>
                </a:lnTo>
                <a:lnTo>
                  <a:pt x="4206" y="2102"/>
                </a:lnTo>
                <a:lnTo>
                  <a:pt x="4204" y="2158"/>
                </a:lnTo>
                <a:lnTo>
                  <a:pt x="4202" y="2212"/>
                </a:lnTo>
                <a:lnTo>
                  <a:pt x="4200" y="2264"/>
                </a:lnTo>
                <a:lnTo>
                  <a:pt x="4194" y="2318"/>
                </a:lnTo>
                <a:lnTo>
                  <a:pt x="4188" y="2370"/>
                </a:lnTo>
                <a:lnTo>
                  <a:pt x="4182" y="2422"/>
                </a:lnTo>
                <a:lnTo>
                  <a:pt x="4172" y="2474"/>
                </a:lnTo>
                <a:lnTo>
                  <a:pt x="4162" y="2526"/>
                </a:lnTo>
                <a:lnTo>
                  <a:pt x="4152" y="2578"/>
                </a:lnTo>
                <a:lnTo>
                  <a:pt x="4140" y="2628"/>
                </a:lnTo>
                <a:lnTo>
                  <a:pt x="4126" y="2678"/>
                </a:lnTo>
                <a:lnTo>
                  <a:pt x="4110" y="2728"/>
                </a:lnTo>
                <a:lnTo>
                  <a:pt x="4094" y="2776"/>
                </a:lnTo>
                <a:lnTo>
                  <a:pt x="4078" y="2826"/>
                </a:lnTo>
                <a:lnTo>
                  <a:pt x="4060" y="2874"/>
                </a:lnTo>
                <a:lnTo>
                  <a:pt x="4040" y="2920"/>
                </a:lnTo>
                <a:lnTo>
                  <a:pt x="4020" y="2968"/>
                </a:lnTo>
                <a:lnTo>
                  <a:pt x="3998" y="3014"/>
                </a:lnTo>
                <a:lnTo>
                  <a:pt x="3976" y="3060"/>
                </a:lnTo>
                <a:lnTo>
                  <a:pt x="3952" y="3104"/>
                </a:lnTo>
                <a:lnTo>
                  <a:pt x="3926" y="3148"/>
                </a:lnTo>
                <a:lnTo>
                  <a:pt x="3900" y="3192"/>
                </a:lnTo>
                <a:lnTo>
                  <a:pt x="3874" y="3236"/>
                </a:lnTo>
                <a:lnTo>
                  <a:pt x="3846" y="3278"/>
                </a:lnTo>
                <a:lnTo>
                  <a:pt x="3818" y="3320"/>
                </a:lnTo>
                <a:lnTo>
                  <a:pt x="3788" y="3360"/>
                </a:lnTo>
                <a:lnTo>
                  <a:pt x="3756" y="3400"/>
                </a:lnTo>
                <a:lnTo>
                  <a:pt x="3724" y="3440"/>
                </a:lnTo>
                <a:lnTo>
                  <a:pt x="3692" y="3478"/>
                </a:lnTo>
                <a:lnTo>
                  <a:pt x="3658" y="3516"/>
                </a:lnTo>
                <a:lnTo>
                  <a:pt x="3624" y="3552"/>
                </a:lnTo>
                <a:lnTo>
                  <a:pt x="3590" y="3590"/>
                </a:lnTo>
                <a:lnTo>
                  <a:pt x="3552" y="3624"/>
                </a:lnTo>
                <a:lnTo>
                  <a:pt x="3516" y="3658"/>
                </a:lnTo>
                <a:lnTo>
                  <a:pt x="3478" y="3692"/>
                </a:lnTo>
                <a:lnTo>
                  <a:pt x="3440" y="3724"/>
                </a:lnTo>
                <a:lnTo>
                  <a:pt x="3400" y="3756"/>
                </a:lnTo>
                <a:lnTo>
                  <a:pt x="3360" y="3788"/>
                </a:lnTo>
                <a:lnTo>
                  <a:pt x="3320" y="3818"/>
                </a:lnTo>
                <a:lnTo>
                  <a:pt x="3278" y="3846"/>
                </a:lnTo>
                <a:lnTo>
                  <a:pt x="3236" y="3874"/>
                </a:lnTo>
                <a:lnTo>
                  <a:pt x="3192" y="3900"/>
                </a:lnTo>
                <a:lnTo>
                  <a:pt x="3148" y="3926"/>
                </a:lnTo>
                <a:lnTo>
                  <a:pt x="3104" y="3952"/>
                </a:lnTo>
                <a:lnTo>
                  <a:pt x="3060" y="3976"/>
                </a:lnTo>
                <a:lnTo>
                  <a:pt x="3014" y="3998"/>
                </a:lnTo>
                <a:lnTo>
                  <a:pt x="2968" y="4020"/>
                </a:lnTo>
                <a:lnTo>
                  <a:pt x="2920" y="4040"/>
                </a:lnTo>
                <a:lnTo>
                  <a:pt x="2874" y="4060"/>
                </a:lnTo>
                <a:lnTo>
                  <a:pt x="2826" y="4078"/>
                </a:lnTo>
                <a:lnTo>
                  <a:pt x="2776" y="4094"/>
                </a:lnTo>
                <a:lnTo>
                  <a:pt x="2728" y="4110"/>
                </a:lnTo>
                <a:lnTo>
                  <a:pt x="2678" y="4126"/>
                </a:lnTo>
                <a:lnTo>
                  <a:pt x="2628" y="4140"/>
                </a:lnTo>
                <a:lnTo>
                  <a:pt x="2578" y="4152"/>
                </a:lnTo>
                <a:lnTo>
                  <a:pt x="2526" y="4162"/>
                </a:lnTo>
                <a:lnTo>
                  <a:pt x="2474" y="4172"/>
                </a:lnTo>
                <a:lnTo>
                  <a:pt x="2422" y="4182"/>
                </a:lnTo>
                <a:lnTo>
                  <a:pt x="2370" y="4188"/>
                </a:lnTo>
                <a:lnTo>
                  <a:pt x="2318" y="4194"/>
                </a:lnTo>
                <a:lnTo>
                  <a:pt x="2264" y="4200"/>
                </a:lnTo>
                <a:lnTo>
                  <a:pt x="2210" y="4202"/>
                </a:lnTo>
                <a:lnTo>
                  <a:pt x="2158" y="4204"/>
                </a:lnTo>
                <a:lnTo>
                  <a:pt x="2102" y="42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sk-SK"/>
          </a:p>
        </p:txBody>
      </p:sp>
      <p:sp>
        <p:nvSpPr>
          <p:cNvPr id="24" name="Freeform 243"/>
          <p:cNvSpPr>
            <a:spLocks/>
          </p:cNvSpPr>
          <p:nvPr userDrawn="1"/>
        </p:nvSpPr>
        <p:spPr bwMode="auto">
          <a:xfrm>
            <a:off x="5940425" y="1125538"/>
            <a:ext cx="215900" cy="215900"/>
          </a:xfrm>
          <a:custGeom>
            <a:avLst/>
            <a:gdLst>
              <a:gd name="T0" fmla="*/ 2147483646 w 3154"/>
              <a:gd name="T1" fmla="*/ 2147483646 h 3154"/>
              <a:gd name="T2" fmla="*/ 2147483646 w 3154"/>
              <a:gd name="T3" fmla="*/ 2147483646 h 3154"/>
              <a:gd name="T4" fmla="*/ 2147483646 w 3154"/>
              <a:gd name="T5" fmla="*/ 2147483646 h 3154"/>
              <a:gd name="T6" fmla="*/ 2147483646 w 3154"/>
              <a:gd name="T7" fmla="*/ 2147483646 h 3154"/>
              <a:gd name="T8" fmla="*/ 2147483646 w 3154"/>
              <a:gd name="T9" fmla="*/ 2147483646 h 3154"/>
              <a:gd name="T10" fmla="*/ 2147483646 w 3154"/>
              <a:gd name="T11" fmla="*/ 2147483646 h 3154"/>
              <a:gd name="T12" fmla="*/ 2147483646 w 3154"/>
              <a:gd name="T13" fmla="*/ 2147483646 h 3154"/>
              <a:gd name="T14" fmla="*/ 2147483646 w 3154"/>
              <a:gd name="T15" fmla="*/ 2147483646 h 3154"/>
              <a:gd name="T16" fmla="*/ 2147483646 w 3154"/>
              <a:gd name="T17" fmla="*/ 2147483646 h 3154"/>
              <a:gd name="T18" fmla="*/ 2147483646 w 3154"/>
              <a:gd name="T19" fmla="*/ 2147483646 h 3154"/>
              <a:gd name="T20" fmla="*/ 2147483646 w 3154"/>
              <a:gd name="T21" fmla="*/ 2147483646 h 3154"/>
              <a:gd name="T22" fmla="*/ 2147483646 w 3154"/>
              <a:gd name="T23" fmla="*/ 2147483646 h 3154"/>
              <a:gd name="T24" fmla="*/ 2147483646 w 3154"/>
              <a:gd name="T25" fmla="*/ 2147483646 h 3154"/>
              <a:gd name="T26" fmla="*/ 2147483646 w 3154"/>
              <a:gd name="T27" fmla="*/ 2147483646 h 3154"/>
              <a:gd name="T28" fmla="*/ 2147483646 w 3154"/>
              <a:gd name="T29" fmla="*/ 2147483646 h 3154"/>
              <a:gd name="T30" fmla="*/ 2147483646 w 3154"/>
              <a:gd name="T31" fmla="*/ 2147483646 h 3154"/>
              <a:gd name="T32" fmla="*/ 2147483646 w 3154"/>
              <a:gd name="T33" fmla="*/ 2147483646 h 3154"/>
              <a:gd name="T34" fmla="*/ 2147483646 w 3154"/>
              <a:gd name="T35" fmla="*/ 2147483646 h 3154"/>
              <a:gd name="T36" fmla="*/ 2147483646 w 3154"/>
              <a:gd name="T37" fmla="*/ 2147483646 h 3154"/>
              <a:gd name="T38" fmla="*/ 2147483646 w 3154"/>
              <a:gd name="T39" fmla="*/ 2147483646 h 3154"/>
              <a:gd name="T40" fmla="*/ 2147483646 w 3154"/>
              <a:gd name="T41" fmla="*/ 2147483646 h 3154"/>
              <a:gd name="T42" fmla="*/ 2147483646 w 3154"/>
              <a:gd name="T43" fmla="*/ 2147483646 h 3154"/>
              <a:gd name="T44" fmla="*/ 2147483646 w 3154"/>
              <a:gd name="T45" fmla="*/ 2147483646 h 3154"/>
              <a:gd name="T46" fmla="*/ 2147483646 w 3154"/>
              <a:gd name="T47" fmla="*/ 2147483646 h 3154"/>
              <a:gd name="T48" fmla="*/ 2147483646 w 3154"/>
              <a:gd name="T49" fmla="*/ 2147483646 h 3154"/>
              <a:gd name="T50" fmla="*/ 2147483646 w 3154"/>
              <a:gd name="T51" fmla="*/ 2147483646 h 3154"/>
              <a:gd name="T52" fmla="*/ 2147483646 w 3154"/>
              <a:gd name="T53" fmla="*/ 2147483646 h 3154"/>
              <a:gd name="T54" fmla="*/ 2147483646 w 3154"/>
              <a:gd name="T55" fmla="*/ 2147483646 h 3154"/>
              <a:gd name="T56" fmla="*/ 2147483646 w 3154"/>
              <a:gd name="T57" fmla="*/ 2147483646 h 3154"/>
              <a:gd name="T58" fmla="*/ 2147483646 w 3154"/>
              <a:gd name="T59" fmla="*/ 2147483646 h 3154"/>
              <a:gd name="T60" fmla="*/ 2147483646 w 3154"/>
              <a:gd name="T61" fmla="*/ 2147483646 h 3154"/>
              <a:gd name="T62" fmla="*/ 2147483646 w 3154"/>
              <a:gd name="T63" fmla="*/ 2147483646 h 3154"/>
              <a:gd name="T64" fmla="*/ 2147483646 w 3154"/>
              <a:gd name="T65" fmla="*/ 2147483646 h 3154"/>
              <a:gd name="T66" fmla="*/ 2147483646 w 3154"/>
              <a:gd name="T67" fmla="*/ 2147483646 h 3154"/>
              <a:gd name="T68" fmla="*/ 2147483646 w 3154"/>
              <a:gd name="T69" fmla="*/ 2147483646 h 3154"/>
              <a:gd name="T70" fmla="*/ 2147483646 w 3154"/>
              <a:gd name="T71" fmla="*/ 2147483646 h 3154"/>
              <a:gd name="T72" fmla="*/ 2147483646 w 3154"/>
              <a:gd name="T73" fmla="*/ 2147483646 h 3154"/>
              <a:gd name="T74" fmla="*/ 2147483646 w 3154"/>
              <a:gd name="T75" fmla="*/ 2147483646 h 3154"/>
              <a:gd name="T76" fmla="*/ 2147483646 w 3154"/>
              <a:gd name="T77" fmla="*/ 2147483646 h 3154"/>
              <a:gd name="T78" fmla="*/ 2147483646 w 3154"/>
              <a:gd name="T79" fmla="*/ 2147483646 h 3154"/>
              <a:gd name="T80" fmla="*/ 2147483646 w 3154"/>
              <a:gd name="T81" fmla="*/ 2147483646 h 3154"/>
              <a:gd name="T82" fmla="*/ 2147483646 w 3154"/>
              <a:gd name="T83" fmla="*/ 2147483646 h 3154"/>
              <a:gd name="T84" fmla="*/ 2147483646 w 3154"/>
              <a:gd name="T85" fmla="*/ 2147483646 h 3154"/>
              <a:gd name="T86" fmla="*/ 2147483646 w 3154"/>
              <a:gd name="T87" fmla="*/ 2147483646 h 315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154" h="3154">
                <a:moveTo>
                  <a:pt x="1576" y="0"/>
                </a:moveTo>
                <a:lnTo>
                  <a:pt x="1576" y="0"/>
                </a:lnTo>
                <a:lnTo>
                  <a:pt x="1496" y="2"/>
                </a:lnTo>
                <a:lnTo>
                  <a:pt x="1416" y="8"/>
                </a:lnTo>
                <a:lnTo>
                  <a:pt x="1338" y="18"/>
                </a:lnTo>
                <a:lnTo>
                  <a:pt x="1260" y="32"/>
                </a:lnTo>
                <a:lnTo>
                  <a:pt x="1184" y="50"/>
                </a:lnTo>
                <a:lnTo>
                  <a:pt x="1108" y="70"/>
                </a:lnTo>
                <a:lnTo>
                  <a:pt x="1036" y="96"/>
                </a:lnTo>
                <a:lnTo>
                  <a:pt x="964" y="124"/>
                </a:lnTo>
                <a:lnTo>
                  <a:pt x="894" y="156"/>
                </a:lnTo>
                <a:lnTo>
                  <a:pt x="826" y="190"/>
                </a:lnTo>
                <a:lnTo>
                  <a:pt x="760" y="228"/>
                </a:lnTo>
                <a:lnTo>
                  <a:pt x="696" y="270"/>
                </a:lnTo>
                <a:lnTo>
                  <a:pt x="634" y="314"/>
                </a:lnTo>
                <a:lnTo>
                  <a:pt x="574" y="360"/>
                </a:lnTo>
                <a:lnTo>
                  <a:pt x="518" y="410"/>
                </a:lnTo>
                <a:lnTo>
                  <a:pt x="462" y="462"/>
                </a:lnTo>
                <a:lnTo>
                  <a:pt x="410" y="518"/>
                </a:lnTo>
                <a:lnTo>
                  <a:pt x="360" y="574"/>
                </a:lnTo>
                <a:lnTo>
                  <a:pt x="314" y="634"/>
                </a:lnTo>
                <a:lnTo>
                  <a:pt x="270" y="696"/>
                </a:lnTo>
                <a:lnTo>
                  <a:pt x="228" y="760"/>
                </a:lnTo>
                <a:lnTo>
                  <a:pt x="190" y="826"/>
                </a:lnTo>
                <a:lnTo>
                  <a:pt x="156" y="894"/>
                </a:lnTo>
                <a:lnTo>
                  <a:pt x="124" y="964"/>
                </a:lnTo>
                <a:lnTo>
                  <a:pt x="96" y="1036"/>
                </a:lnTo>
                <a:lnTo>
                  <a:pt x="70" y="1108"/>
                </a:lnTo>
                <a:lnTo>
                  <a:pt x="50" y="1184"/>
                </a:lnTo>
                <a:lnTo>
                  <a:pt x="32" y="1260"/>
                </a:lnTo>
                <a:lnTo>
                  <a:pt x="18" y="1338"/>
                </a:lnTo>
                <a:lnTo>
                  <a:pt x="8" y="1416"/>
                </a:lnTo>
                <a:lnTo>
                  <a:pt x="2" y="1496"/>
                </a:lnTo>
                <a:lnTo>
                  <a:pt x="0" y="1576"/>
                </a:lnTo>
                <a:lnTo>
                  <a:pt x="2" y="1658"/>
                </a:lnTo>
                <a:lnTo>
                  <a:pt x="8" y="1738"/>
                </a:lnTo>
                <a:lnTo>
                  <a:pt x="18" y="1816"/>
                </a:lnTo>
                <a:lnTo>
                  <a:pt x="32" y="1894"/>
                </a:lnTo>
                <a:lnTo>
                  <a:pt x="50" y="1970"/>
                </a:lnTo>
                <a:lnTo>
                  <a:pt x="70" y="2046"/>
                </a:lnTo>
                <a:lnTo>
                  <a:pt x="96" y="2118"/>
                </a:lnTo>
                <a:lnTo>
                  <a:pt x="124" y="2190"/>
                </a:lnTo>
                <a:lnTo>
                  <a:pt x="156" y="2260"/>
                </a:lnTo>
                <a:lnTo>
                  <a:pt x="190" y="2328"/>
                </a:lnTo>
                <a:lnTo>
                  <a:pt x="228" y="2394"/>
                </a:lnTo>
                <a:lnTo>
                  <a:pt x="270" y="2458"/>
                </a:lnTo>
                <a:lnTo>
                  <a:pt x="314" y="2520"/>
                </a:lnTo>
                <a:lnTo>
                  <a:pt x="360" y="2580"/>
                </a:lnTo>
                <a:lnTo>
                  <a:pt x="410" y="2636"/>
                </a:lnTo>
                <a:lnTo>
                  <a:pt x="462" y="2692"/>
                </a:lnTo>
                <a:lnTo>
                  <a:pt x="518" y="2744"/>
                </a:lnTo>
                <a:lnTo>
                  <a:pt x="574" y="2794"/>
                </a:lnTo>
                <a:lnTo>
                  <a:pt x="634" y="2840"/>
                </a:lnTo>
                <a:lnTo>
                  <a:pt x="696" y="2884"/>
                </a:lnTo>
                <a:lnTo>
                  <a:pt x="760" y="2926"/>
                </a:lnTo>
                <a:lnTo>
                  <a:pt x="826" y="2964"/>
                </a:lnTo>
                <a:lnTo>
                  <a:pt x="894" y="2998"/>
                </a:lnTo>
                <a:lnTo>
                  <a:pt x="964" y="3030"/>
                </a:lnTo>
                <a:lnTo>
                  <a:pt x="1036" y="3058"/>
                </a:lnTo>
                <a:lnTo>
                  <a:pt x="1108" y="3082"/>
                </a:lnTo>
                <a:lnTo>
                  <a:pt x="1184" y="3104"/>
                </a:lnTo>
                <a:lnTo>
                  <a:pt x="1260" y="3122"/>
                </a:lnTo>
                <a:lnTo>
                  <a:pt x="1338" y="3136"/>
                </a:lnTo>
                <a:lnTo>
                  <a:pt x="1416" y="3146"/>
                </a:lnTo>
                <a:lnTo>
                  <a:pt x="1496" y="3152"/>
                </a:lnTo>
                <a:lnTo>
                  <a:pt x="1576" y="3154"/>
                </a:lnTo>
                <a:lnTo>
                  <a:pt x="1658" y="3152"/>
                </a:lnTo>
                <a:lnTo>
                  <a:pt x="1738" y="3146"/>
                </a:lnTo>
                <a:lnTo>
                  <a:pt x="1816" y="3136"/>
                </a:lnTo>
                <a:lnTo>
                  <a:pt x="1894" y="3122"/>
                </a:lnTo>
                <a:lnTo>
                  <a:pt x="1970" y="3104"/>
                </a:lnTo>
                <a:lnTo>
                  <a:pt x="2046" y="3082"/>
                </a:lnTo>
                <a:lnTo>
                  <a:pt x="2118" y="3058"/>
                </a:lnTo>
                <a:lnTo>
                  <a:pt x="2190" y="3030"/>
                </a:lnTo>
                <a:lnTo>
                  <a:pt x="2260" y="2998"/>
                </a:lnTo>
                <a:lnTo>
                  <a:pt x="2328" y="2964"/>
                </a:lnTo>
                <a:lnTo>
                  <a:pt x="2394" y="2926"/>
                </a:lnTo>
                <a:lnTo>
                  <a:pt x="2458" y="2884"/>
                </a:lnTo>
                <a:lnTo>
                  <a:pt x="2520" y="2840"/>
                </a:lnTo>
                <a:lnTo>
                  <a:pt x="2580" y="2794"/>
                </a:lnTo>
                <a:lnTo>
                  <a:pt x="2636" y="2744"/>
                </a:lnTo>
                <a:lnTo>
                  <a:pt x="2692" y="2692"/>
                </a:lnTo>
                <a:lnTo>
                  <a:pt x="2744" y="2636"/>
                </a:lnTo>
                <a:lnTo>
                  <a:pt x="2794" y="2580"/>
                </a:lnTo>
                <a:lnTo>
                  <a:pt x="2840" y="2520"/>
                </a:lnTo>
                <a:lnTo>
                  <a:pt x="2884" y="2458"/>
                </a:lnTo>
                <a:lnTo>
                  <a:pt x="2926" y="2394"/>
                </a:lnTo>
                <a:lnTo>
                  <a:pt x="2964" y="2328"/>
                </a:lnTo>
                <a:lnTo>
                  <a:pt x="2998" y="2260"/>
                </a:lnTo>
                <a:lnTo>
                  <a:pt x="3030" y="2190"/>
                </a:lnTo>
                <a:lnTo>
                  <a:pt x="3058" y="2118"/>
                </a:lnTo>
                <a:lnTo>
                  <a:pt x="3082" y="2046"/>
                </a:lnTo>
                <a:lnTo>
                  <a:pt x="3104" y="1970"/>
                </a:lnTo>
                <a:lnTo>
                  <a:pt x="3122" y="1894"/>
                </a:lnTo>
                <a:lnTo>
                  <a:pt x="3136" y="1816"/>
                </a:lnTo>
                <a:lnTo>
                  <a:pt x="3146" y="1738"/>
                </a:lnTo>
                <a:lnTo>
                  <a:pt x="3152" y="1658"/>
                </a:lnTo>
                <a:lnTo>
                  <a:pt x="3154" y="1576"/>
                </a:lnTo>
                <a:lnTo>
                  <a:pt x="3152" y="1496"/>
                </a:lnTo>
                <a:lnTo>
                  <a:pt x="3146" y="1416"/>
                </a:lnTo>
                <a:lnTo>
                  <a:pt x="3136" y="1338"/>
                </a:lnTo>
                <a:lnTo>
                  <a:pt x="3122" y="1260"/>
                </a:lnTo>
                <a:lnTo>
                  <a:pt x="3104" y="1184"/>
                </a:lnTo>
                <a:lnTo>
                  <a:pt x="3082" y="1108"/>
                </a:lnTo>
                <a:lnTo>
                  <a:pt x="3058" y="1036"/>
                </a:lnTo>
                <a:lnTo>
                  <a:pt x="3030" y="964"/>
                </a:lnTo>
                <a:lnTo>
                  <a:pt x="2998" y="894"/>
                </a:lnTo>
                <a:lnTo>
                  <a:pt x="2964" y="826"/>
                </a:lnTo>
                <a:lnTo>
                  <a:pt x="2926" y="760"/>
                </a:lnTo>
                <a:lnTo>
                  <a:pt x="2884" y="696"/>
                </a:lnTo>
                <a:lnTo>
                  <a:pt x="2840" y="634"/>
                </a:lnTo>
                <a:lnTo>
                  <a:pt x="2794" y="574"/>
                </a:lnTo>
                <a:lnTo>
                  <a:pt x="2744" y="518"/>
                </a:lnTo>
                <a:lnTo>
                  <a:pt x="2692" y="462"/>
                </a:lnTo>
                <a:lnTo>
                  <a:pt x="2636" y="410"/>
                </a:lnTo>
                <a:lnTo>
                  <a:pt x="2580" y="360"/>
                </a:lnTo>
                <a:lnTo>
                  <a:pt x="2520" y="314"/>
                </a:lnTo>
                <a:lnTo>
                  <a:pt x="2458" y="270"/>
                </a:lnTo>
                <a:lnTo>
                  <a:pt x="2394" y="228"/>
                </a:lnTo>
                <a:lnTo>
                  <a:pt x="2328" y="190"/>
                </a:lnTo>
                <a:lnTo>
                  <a:pt x="2260" y="156"/>
                </a:lnTo>
                <a:lnTo>
                  <a:pt x="2190" y="124"/>
                </a:lnTo>
                <a:lnTo>
                  <a:pt x="2118" y="96"/>
                </a:lnTo>
                <a:lnTo>
                  <a:pt x="2046" y="70"/>
                </a:lnTo>
                <a:lnTo>
                  <a:pt x="1970" y="50"/>
                </a:lnTo>
                <a:lnTo>
                  <a:pt x="1894" y="32"/>
                </a:lnTo>
                <a:lnTo>
                  <a:pt x="1816" y="18"/>
                </a:lnTo>
                <a:lnTo>
                  <a:pt x="1738" y="8"/>
                </a:lnTo>
                <a:lnTo>
                  <a:pt x="1658" y="2"/>
                </a:lnTo>
                <a:lnTo>
                  <a:pt x="15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sk-SK"/>
          </a:p>
        </p:txBody>
      </p:sp>
      <p:pic>
        <p:nvPicPr>
          <p:cNvPr id="25" name="Obrázok 5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61938" y="295275"/>
            <a:ext cx="592137"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Obrázok 5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659563" y="1474788"/>
            <a:ext cx="1847850"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Titel 1"/>
          <p:cNvSpPr>
            <a:spLocks noGrp="1"/>
          </p:cNvSpPr>
          <p:nvPr>
            <p:ph type="ctrTitle"/>
          </p:nvPr>
        </p:nvSpPr>
        <p:spPr bwMode="gray">
          <a:xfrm>
            <a:off x="4428000" y="2889250"/>
            <a:ext cx="3565063" cy="2198884"/>
          </a:xfrm>
          <a:noFill/>
        </p:spPr>
        <p:txBody>
          <a:bodyPr anchor="b">
            <a:noAutofit/>
          </a:bodyPr>
          <a:lstStyle>
            <a:lvl1pPr>
              <a:defRPr sz="2800" b="0">
                <a:solidFill>
                  <a:schemeClr val="bg1"/>
                </a:solidFill>
              </a:defRPr>
            </a:lvl1pPr>
          </a:lstStyle>
          <a:p>
            <a:r>
              <a:rPr lang="sk-SK" noProof="0"/>
              <a:t>Upravte štýly predlohy textu</a:t>
            </a:r>
            <a:endParaRPr lang="en-GB" noProof="0"/>
          </a:p>
        </p:txBody>
      </p:sp>
      <p:sp>
        <p:nvSpPr>
          <p:cNvPr id="27" name="Fußzeilenplatzhalter 4"/>
          <p:cNvSpPr>
            <a:spLocks noGrp="1"/>
          </p:cNvSpPr>
          <p:nvPr>
            <p:ph type="ftr" sz="quarter" idx="10"/>
          </p:nvPr>
        </p:nvSpPr>
        <p:spPr>
          <a:xfrm>
            <a:off x="4427538" y="5229225"/>
            <a:ext cx="3565525" cy="153988"/>
          </a:xfrm>
        </p:spPr>
        <p:txBody>
          <a:bodyPr anchor="t" anchorCtr="0"/>
          <a:lstStyle>
            <a:lvl1pPr>
              <a:defRPr>
                <a:solidFill>
                  <a:schemeClr val="bg1"/>
                </a:solidFill>
              </a:defRPr>
            </a:lvl1pPr>
          </a:lstStyle>
          <a:p>
            <a:pPr>
              <a:defRPr/>
            </a:pPr>
            <a:endParaRPr lang="en-GB"/>
          </a:p>
        </p:txBody>
      </p:sp>
    </p:spTree>
    <p:extLst>
      <p:ext uri="{BB962C8B-B14F-4D97-AF65-F5344CB8AC3E}">
        <p14:creationId xmlns:p14="http://schemas.microsoft.com/office/powerpoint/2010/main" val="176738901"/>
      </p:ext>
    </p:extLst>
  </p:cSld>
  <p:clrMapOvr>
    <a:masterClrMapping/>
  </p:clrMapOvr>
  <p:transition spd="med">
    <p:pull/>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mj-lt"/>
                <a:cs typeface="Arial" pitchFamily="34" charset="0"/>
              </a:defRPr>
            </a:lvl1pPr>
          </a:lstStyle>
          <a:p>
            <a:r>
              <a:rPr lang="sk-SK"/>
              <a:t>Upravte štýly predlohy textu</a:t>
            </a:r>
            <a:endParaRPr lang="de-DE" dirty="0"/>
          </a:p>
        </p:txBody>
      </p:sp>
      <p:sp>
        <p:nvSpPr>
          <p:cNvPr id="3" name="Inhaltsplatzhalter 2"/>
          <p:cNvSpPr>
            <a:spLocks noGrp="1"/>
          </p:cNvSpPr>
          <p:nvPr>
            <p:ph idx="1"/>
          </p:nvPr>
        </p:nvSpPr>
        <p:spPr/>
        <p:txBody>
          <a:bodyPr>
            <a:normAutofit/>
          </a:bodyPr>
          <a:lstStyle>
            <a:lvl1pPr>
              <a:defRPr sz="2000"/>
            </a:lvl1pPr>
            <a:lvl2pPr>
              <a:defRPr sz="2000"/>
            </a:lvl2pPr>
            <a:lvl3pPr>
              <a:defRPr sz="2000"/>
            </a:lvl3pPr>
            <a:lvl4pPr>
              <a:defRPr sz="2000"/>
            </a:lvl4pPr>
            <a:lvl5pPr>
              <a:defRPr sz="2000"/>
            </a:lvl5pPr>
          </a:lstStyle>
          <a:p>
            <a:pPr lvl="0"/>
            <a:r>
              <a:rPr lang="sk-SK"/>
              <a:t>Upravte štýl predlohy textu.</a:t>
            </a:r>
          </a:p>
          <a:p>
            <a:pPr lvl="1"/>
            <a:r>
              <a:rPr lang="sk-SK"/>
              <a:t>Druhá úroveň</a:t>
            </a:r>
          </a:p>
          <a:p>
            <a:pPr lvl="2"/>
            <a:r>
              <a:rPr lang="sk-SK"/>
              <a:t>Tretia úroveň</a:t>
            </a:r>
          </a:p>
          <a:p>
            <a:pPr lvl="3"/>
            <a:r>
              <a:rPr lang="sk-SK"/>
              <a:t>Štvrtá úroveň</a:t>
            </a:r>
          </a:p>
          <a:p>
            <a:pPr lvl="4"/>
            <a:r>
              <a:rPr lang="sk-SK"/>
              <a:t>Piata úroveň</a:t>
            </a:r>
            <a:endParaRPr lang="de-DE" dirty="0"/>
          </a:p>
        </p:txBody>
      </p:sp>
      <p:sp>
        <p:nvSpPr>
          <p:cNvPr id="4" name="Datumsplatzhalter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de-DE"/>
          </a:p>
        </p:txBody>
      </p:sp>
      <p:sp>
        <p:nvSpPr>
          <p:cNvPr id="5" name="Fußzeilenplatzhalter 4"/>
          <p:cNvSpPr>
            <a:spLocks noGrp="1"/>
          </p:cNvSpPr>
          <p:nvPr>
            <p:ph type="ftr" sz="quarter" idx="11"/>
          </p:nvPr>
        </p:nvSpPr>
        <p:spPr/>
        <p:txBody>
          <a:bodyPr/>
          <a:lstStyle>
            <a:lvl1pPr>
              <a:defRPr/>
            </a:lvl1pPr>
          </a:lstStyle>
          <a:p>
            <a:pPr>
              <a:defRPr/>
            </a:pPr>
            <a:endParaRPr lang="de-DE"/>
          </a:p>
        </p:txBody>
      </p:sp>
      <p:sp>
        <p:nvSpPr>
          <p:cNvPr id="6" name="Foliennummernplatzhalter 5"/>
          <p:cNvSpPr>
            <a:spLocks noGrp="1"/>
          </p:cNvSpPr>
          <p:nvPr>
            <p:ph type="sldNum" sz="quarter" idx="12"/>
          </p:nvPr>
        </p:nvSpPr>
        <p:spPr/>
        <p:txBody>
          <a:bodyPr/>
          <a:lstStyle>
            <a:lvl1pPr>
              <a:defRPr/>
            </a:lvl1pPr>
          </a:lstStyle>
          <a:p>
            <a:pPr>
              <a:defRPr/>
            </a:pPr>
            <a:fld id="{1F5CDCB2-61E6-49EB-8FFF-89E1D817C414}" type="slidenum">
              <a:rPr lang="de-DE"/>
              <a:pPr>
                <a:defRPr/>
              </a:pPr>
              <a:t>‹#›</a:t>
            </a:fld>
            <a:endParaRPr lang="de-DE" dirty="0"/>
          </a:p>
        </p:txBody>
      </p:sp>
    </p:spTree>
    <p:extLst>
      <p:ext uri="{BB962C8B-B14F-4D97-AF65-F5344CB8AC3E}">
        <p14:creationId xmlns:p14="http://schemas.microsoft.com/office/powerpoint/2010/main" val="2828818896"/>
      </p:ext>
    </p:extLst>
  </p:cSld>
  <p:clrMapOvr>
    <a:masterClrMapping/>
  </p:clrMapOvr>
  <p:transition spd="med">
    <p:pull/>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04">
    <p:spTree>
      <p:nvGrpSpPr>
        <p:cNvPr id="1" name=""/>
        <p:cNvGrpSpPr/>
        <p:nvPr/>
      </p:nvGrpSpPr>
      <p:grpSpPr>
        <a:xfrm>
          <a:off x="0" y="0"/>
          <a:ext cx="0" cy="0"/>
          <a:chOff x="0" y="0"/>
          <a:chExt cx="0" cy="0"/>
        </a:xfrm>
      </p:grpSpPr>
      <p:graphicFrame>
        <p:nvGraphicFramePr>
          <p:cNvPr id="4"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07722" name="think-cell Folie" r:id="rId4" imgW="360" imgH="360" progId="">
                  <p:embed/>
                </p:oleObj>
              </mc:Choice>
              <mc:Fallback>
                <p:oleObj name="think-cell Folie" r:id="rId4" imgW="360" imgH="360" progId="">
                  <p:embed/>
                  <p:pic>
                    <p:nvPicPr>
                      <p:cNvPr id="5122"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19"/>
          <p:cNvGrpSpPr>
            <a:grpSpLocks/>
          </p:cNvGrpSpPr>
          <p:nvPr userDrawn="1"/>
        </p:nvGrpSpPr>
        <p:grpSpPr bwMode="auto">
          <a:xfrm>
            <a:off x="576263" y="-166688"/>
            <a:ext cx="7416800" cy="144463"/>
            <a:chOff x="575556" y="-124966"/>
            <a:chExt cx="7416824" cy="108000"/>
          </a:xfrm>
        </p:grpSpPr>
        <p:sp>
          <p:nvSpPr>
            <p:cNvPr id="6"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7" name="Freihandform 21"/>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8" name="Freihandform 22"/>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9"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grpSp>
      <p:grpSp>
        <p:nvGrpSpPr>
          <p:cNvPr id="10" name="Gruppieren 30"/>
          <p:cNvGrpSpPr>
            <a:grpSpLocks/>
          </p:cNvGrpSpPr>
          <p:nvPr userDrawn="1"/>
        </p:nvGrpSpPr>
        <p:grpSpPr bwMode="auto">
          <a:xfrm>
            <a:off x="576263" y="6880225"/>
            <a:ext cx="7416800" cy="144463"/>
            <a:chOff x="575556" y="5160466"/>
            <a:chExt cx="7416824" cy="108000"/>
          </a:xfrm>
        </p:grpSpPr>
        <p:sp>
          <p:nvSpPr>
            <p:cNvPr id="11"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2" name="Freihandform 32"/>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3" name="Freihandform 33"/>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4"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grpSp>
      <p:grpSp>
        <p:nvGrpSpPr>
          <p:cNvPr id="15" name="Gruppieren 35"/>
          <p:cNvGrpSpPr>
            <a:grpSpLocks/>
          </p:cNvGrpSpPr>
          <p:nvPr userDrawn="1"/>
        </p:nvGrpSpPr>
        <p:grpSpPr bwMode="auto">
          <a:xfrm>
            <a:off x="-166688" y="1449388"/>
            <a:ext cx="144463" cy="4891087"/>
            <a:chOff x="-165953" y="1448781"/>
            <a:chExt cx="144001" cy="4891981"/>
          </a:xfrm>
        </p:grpSpPr>
        <p:sp>
          <p:nvSpPr>
            <p:cNvPr id="16" name="Freihandform 22"/>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17" name="Freihandform 23"/>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18" name="Freihandform 38"/>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grpSp>
        <p:nvGrpSpPr>
          <p:cNvPr id="19" name="Gruppieren 39"/>
          <p:cNvGrpSpPr>
            <a:grpSpLocks/>
          </p:cNvGrpSpPr>
          <p:nvPr userDrawn="1"/>
        </p:nvGrpSpPr>
        <p:grpSpPr bwMode="auto">
          <a:xfrm>
            <a:off x="9166225" y="1449388"/>
            <a:ext cx="144463" cy="4895850"/>
            <a:chOff x="9166242" y="1448781"/>
            <a:chExt cx="144000" cy="4896542"/>
          </a:xfrm>
        </p:grpSpPr>
        <p:sp>
          <p:nvSpPr>
            <p:cNvPr id="20" name="Freihandform 25"/>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21" name="Freihandform 47"/>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22" name="Freihandform 47"/>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sp>
        <p:nvSpPr>
          <p:cNvPr id="3" name="Bildplatzhalter 2"/>
          <p:cNvSpPr>
            <a:spLocks noGrp="1"/>
          </p:cNvSpPr>
          <p:nvPr>
            <p:ph type="pic" sz="quarter" idx="12"/>
          </p:nvPr>
        </p:nvSpPr>
        <p:spPr>
          <a:xfrm>
            <a:off x="0" y="-600"/>
            <a:ext cx="9144000" cy="6858600"/>
          </a:xfrm>
          <a:blipFill>
            <a:blip r:embed="rId6"/>
            <a:stretch>
              <a:fillRect/>
            </a:stretch>
          </a:blipFill>
        </p:spPr>
        <p:txBody>
          <a:bodyPr rtlCol="0">
            <a:noAutofit/>
          </a:bodyPr>
          <a:lstStyle>
            <a:lvl1pPr>
              <a:defRPr lang="de-DE" sz="1000" dirty="0"/>
            </a:lvl1pPr>
          </a:lstStyle>
          <a:p>
            <a:pPr lvl="0"/>
            <a:r>
              <a:rPr lang="sk-SK" noProof="0"/>
              <a:t>Ak chcete pridať obrázok, kliknite na ikonu</a:t>
            </a:r>
            <a:endParaRPr lang="en-GB" noProof="0" dirty="0"/>
          </a:p>
        </p:txBody>
      </p:sp>
      <p:sp>
        <p:nvSpPr>
          <p:cNvPr id="42" name="Titel 1"/>
          <p:cNvSpPr>
            <a:spLocks noGrp="1"/>
          </p:cNvSpPr>
          <p:nvPr>
            <p:ph type="ctrTitle"/>
          </p:nvPr>
        </p:nvSpPr>
        <p:spPr bwMode="gray">
          <a:xfrm>
            <a:off x="684000" y="1954800"/>
            <a:ext cx="4032000" cy="1728000"/>
          </a:xfrm>
          <a:solidFill>
            <a:srgbClr val="64B42D"/>
          </a:solidFill>
        </p:spPr>
        <p:txBody>
          <a:bodyPr lIns="396000" tIns="396000" rIns="396000" bIns="432000">
            <a:noAutofit/>
          </a:bodyPr>
          <a:lstStyle>
            <a:lvl1pPr>
              <a:defRPr sz="2600" b="0">
                <a:solidFill>
                  <a:schemeClr val="bg1"/>
                </a:solidFill>
              </a:defRPr>
            </a:lvl1pPr>
          </a:lstStyle>
          <a:p>
            <a:r>
              <a:rPr lang="sk-SK" noProof="0"/>
              <a:t>Upravte štýly predlohy textu</a:t>
            </a:r>
            <a:endParaRPr lang="en-GB" noProof="0"/>
          </a:p>
        </p:txBody>
      </p:sp>
      <p:sp>
        <p:nvSpPr>
          <p:cNvPr id="23" name="Fußzeilenplatzhalter 4"/>
          <p:cNvSpPr>
            <a:spLocks noGrp="1"/>
          </p:cNvSpPr>
          <p:nvPr>
            <p:ph type="ftr" sz="quarter" idx="13"/>
          </p:nvPr>
        </p:nvSpPr>
        <p:spPr>
          <a:xfrm>
            <a:off x="1044575" y="3214688"/>
            <a:ext cx="2843213" cy="153987"/>
          </a:xfrm>
        </p:spPr>
        <p:txBody>
          <a:bodyPr anchor="b" anchorCtr="0"/>
          <a:lstStyle>
            <a:lvl1pPr>
              <a:defRPr>
                <a:solidFill>
                  <a:schemeClr val="bg1"/>
                </a:solidFill>
              </a:defRPr>
            </a:lvl1pPr>
          </a:lstStyle>
          <a:p>
            <a:pPr>
              <a:defRPr/>
            </a:pPr>
            <a:endParaRPr lang="en-GB"/>
          </a:p>
        </p:txBody>
      </p:sp>
    </p:spTree>
    <p:extLst>
      <p:ext uri="{BB962C8B-B14F-4D97-AF65-F5344CB8AC3E}">
        <p14:creationId xmlns:p14="http://schemas.microsoft.com/office/powerpoint/2010/main" val="309489914"/>
      </p:ext>
    </p:extLst>
  </p:cSld>
  <p:clrMapOvr>
    <a:masterClrMapping/>
  </p:clrMapOvr>
  <p:transition spd="med">
    <p:pull/>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05">
    <p:spTree>
      <p:nvGrpSpPr>
        <p:cNvPr id="1" name=""/>
        <p:cNvGrpSpPr/>
        <p:nvPr/>
      </p:nvGrpSpPr>
      <p:grpSpPr>
        <a:xfrm>
          <a:off x="0" y="0"/>
          <a:ext cx="0" cy="0"/>
          <a:chOff x="0" y="0"/>
          <a:chExt cx="0" cy="0"/>
        </a:xfrm>
      </p:grpSpPr>
      <p:graphicFrame>
        <p:nvGraphicFramePr>
          <p:cNvPr id="3"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08746" name="think-cell Folie" r:id="rId4" imgW="360" imgH="360" progId="">
                  <p:embed/>
                </p:oleObj>
              </mc:Choice>
              <mc:Fallback>
                <p:oleObj name="think-cell Folie" r:id="rId4" imgW="360" imgH="360" progId="">
                  <p:embed/>
                  <p:pic>
                    <p:nvPicPr>
                      <p:cNvPr id="6146"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uppieren 19"/>
          <p:cNvGrpSpPr>
            <a:grpSpLocks/>
          </p:cNvGrpSpPr>
          <p:nvPr userDrawn="1"/>
        </p:nvGrpSpPr>
        <p:grpSpPr bwMode="auto">
          <a:xfrm>
            <a:off x="576263" y="-166688"/>
            <a:ext cx="7416800" cy="144463"/>
            <a:chOff x="575556" y="-124966"/>
            <a:chExt cx="7416824" cy="108000"/>
          </a:xfrm>
        </p:grpSpPr>
        <p:sp>
          <p:nvSpPr>
            <p:cNvPr id="5"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6" name="Freihandform 21"/>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7" name="Freihandform 22"/>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8"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grpSp>
      <p:grpSp>
        <p:nvGrpSpPr>
          <p:cNvPr id="9" name="Gruppieren 30"/>
          <p:cNvGrpSpPr>
            <a:grpSpLocks/>
          </p:cNvGrpSpPr>
          <p:nvPr userDrawn="1"/>
        </p:nvGrpSpPr>
        <p:grpSpPr bwMode="auto">
          <a:xfrm>
            <a:off x="576263" y="6880225"/>
            <a:ext cx="7416800" cy="144463"/>
            <a:chOff x="575556" y="5160466"/>
            <a:chExt cx="7416824" cy="108000"/>
          </a:xfrm>
        </p:grpSpPr>
        <p:sp>
          <p:nvSpPr>
            <p:cNvPr id="10"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1" name="Freihandform 32"/>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2" name="Freihandform 33"/>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3"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grpSp>
      <p:grpSp>
        <p:nvGrpSpPr>
          <p:cNvPr id="14" name="Gruppieren 35"/>
          <p:cNvGrpSpPr>
            <a:grpSpLocks/>
          </p:cNvGrpSpPr>
          <p:nvPr userDrawn="1"/>
        </p:nvGrpSpPr>
        <p:grpSpPr bwMode="auto">
          <a:xfrm>
            <a:off x="-166688" y="1449388"/>
            <a:ext cx="144463" cy="4891087"/>
            <a:chOff x="-165953" y="1448781"/>
            <a:chExt cx="144001" cy="4891981"/>
          </a:xfrm>
        </p:grpSpPr>
        <p:sp>
          <p:nvSpPr>
            <p:cNvPr id="15" name="Freihandform 22"/>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16" name="Freihandform 23"/>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17" name="Freihandform 38"/>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grpSp>
        <p:nvGrpSpPr>
          <p:cNvPr id="18" name="Gruppieren 39"/>
          <p:cNvGrpSpPr>
            <a:grpSpLocks/>
          </p:cNvGrpSpPr>
          <p:nvPr userDrawn="1"/>
        </p:nvGrpSpPr>
        <p:grpSpPr bwMode="auto">
          <a:xfrm>
            <a:off x="9166225" y="1449388"/>
            <a:ext cx="144463" cy="4895850"/>
            <a:chOff x="9166242" y="1448781"/>
            <a:chExt cx="144000" cy="4896542"/>
          </a:xfrm>
        </p:grpSpPr>
        <p:sp>
          <p:nvSpPr>
            <p:cNvPr id="19" name="Freihandform 25"/>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20" name="Freihandform 47"/>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21" name="Freihandform 47"/>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pic>
        <p:nvPicPr>
          <p:cNvPr id="22" name="Obrázok 53"/>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50825" y="295275"/>
            <a:ext cx="60325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Obrázok 54"/>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629400" y="1516063"/>
            <a:ext cx="1838325" cy="100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Titel 1"/>
          <p:cNvSpPr>
            <a:spLocks noGrp="1"/>
          </p:cNvSpPr>
          <p:nvPr>
            <p:ph type="ctrTitle"/>
          </p:nvPr>
        </p:nvSpPr>
        <p:spPr bwMode="gray">
          <a:xfrm>
            <a:off x="4427538" y="2889251"/>
            <a:ext cx="3564842" cy="2198750"/>
          </a:xfrm>
          <a:noFill/>
        </p:spPr>
        <p:txBody>
          <a:bodyPr rtlCol="0" anchor="b">
            <a:noAutofit/>
          </a:bodyPr>
          <a:lstStyle>
            <a:lvl1pPr>
              <a:defRPr lang="en-GB" sz="2800" b="0" noProof="0" dirty="0">
                <a:solidFill>
                  <a:schemeClr val="tx1"/>
                </a:solidFill>
              </a:defRPr>
            </a:lvl1pPr>
          </a:lstStyle>
          <a:p>
            <a:pPr lvl="0"/>
            <a:r>
              <a:rPr lang="sk-SK" noProof="0"/>
              <a:t>Upravte štýly predlohy textu</a:t>
            </a:r>
            <a:endParaRPr lang="en-GB" noProof="0"/>
          </a:p>
        </p:txBody>
      </p:sp>
      <p:sp>
        <p:nvSpPr>
          <p:cNvPr id="24" name="Fußzeilenplatzhalter 4"/>
          <p:cNvSpPr>
            <a:spLocks noGrp="1"/>
          </p:cNvSpPr>
          <p:nvPr>
            <p:ph type="ftr" sz="quarter" idx="10"/>
          </p:nvPr>
        </p:nvSpPr>
        <p:spPr>
          <a:xfrm>
            <a:off x="4427538" y="5229225"/>
            <a:ext cx="3563937" cy="153988"/>
          </a:xfrm>
        </p:spPr>
        <p:txBody>
          <a:bodyPr anchor="t" anchorCtr="0"/>
          <a:lstStyle>
            <a:lvl1pPr>
              <a:defRPr>
                <a:solidFill>
                  <a:schemeClr val="tx1"/>
                </a:solidFill>
              </a:defRPr>
            </a:lvl1pPr>
          </a:lstStyle>
          <a:p>
            <a:pPr>
              <a:defRPr/>
            </a:pPr>
            <a:endParaRPr lang="en-GB"/>
          </a:p>
        </p:txBody>
      </p:sp>
    </p:spTree>
    <p:extLst>
      <p:ext uri="{BB962C8B-B14F-4D97-AF65-F5344CB8AC3E}">
        <p14:creationId xmlns:p14="http://schemas.microsoft.com/office/powerpoint/2010/main" val="3321530719"/>
      </p:ext>
    </p:extLst>
  </p:cSld>
  <p:clrMapOvr>
    <a:masterClrMapping/>
  </p:clrMapOvr>
  <p:transition spd="med">
    <p:pull/>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06">
    <p:spTree>
      <p:nvGrpSpPr>
        <p:cNvPr id="1" name=""/>
        <p:cNvGrpSpPr/>
        <p:nvPr/>
      </p:nvGrpSpPr>
      <p:grpSpPr>
        <a:xfrm>
          <a:off x="0" y="0"/>
          <a:ext cx="0" cy="0"/>
          <a:chOff x="0" y="0"/>
          <a:chExt cx="0" cy="0"/>
        </a:xfrm>
      </p:grpSpPr>
      <p:graphicFrame>
        <p:nvGraphicFramePr>
          <p:cNvPr id="4"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09770" name="think-cell Folie" r:id="rId4" imgW="360" imgH="360" progId="">
                  <p:embed/>
                </p:oleObj>
              </mc:Choice>
              <mc:Fallback>
                <p:oleObj name="think-cell Folie" r:id="rId4" imgW="360" imgH="360" progId="">
                  <p:embed/>
                  <p:pic>
                    <p:nvPicPr>
                      <p:cNvPr id="7170"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Gruppieren 19"/>
          <p:cNvGrpSpPr>
            <a:grpSpLocks/>
          </p:cNvGrpSpPr>
          <p:nvPr userDrawn="1"/>
        </p:nvGrpSpPr>
        <p:grpSpPr bwMode="auto">
          <a:xfrm>
            <a:off x="576263" y="-166688"/>
            <a:ext cx="7416800" cy="144463"/>
            <a:chOff x="575556" y="-124966"/>
            <a:chExt cx="7416824" cy="108000"/>
          </a:xfrm>
        </p:grpSpPr>
        <p:sp>
          <p:nvSpPr>
            <p:cNvPr id="6" name="Freihandform 20"/>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7" name="Freihandform 21"/>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8" name="Freihandform 22"/>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9" name="Freihandform 29"/>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grpSp>
      <p:grpSp>
        <p:nvGrpSpPr>
          <p:cNvPr id="10" name="Gruppieren 30"/>
          <p:cNvGrpSpPr>
            <a:grpSpLocks/>
          </p:cNvGrpSpPr>
          <p:nvPr userDrawn="1"/>
        </p:nvGrpSpPr>
        <p:grpSpPr bwMode="auto">
          <a:xfrm>
            <a:off x="576263" y="6880225"/>
            <a:ext cx="7416800" cy="144463"/>
            <a:chOff x="575556" y="5160466"/>
            <a:chExt cx="7416824" cy="108000"/>
          </a:xfrm>
        </p:grpSpPr>
        <p:sp>
          <p:nvSpPr>
            <p:cNvPr id="11" name="Freihandform 31"/>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2" name="Freihandform 32"/>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3" name="Freihandform 33"/>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sp>
          <p:nvSpPr>
            <p:cNvPr id="14" name="Freihandform 34"/>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grpSp>
      <p:grpSp>
        <p:nvGrpSpPr>
          <p:cNvPr id="15" name="Gruppieren 36"/>
          <p:cNvGrpSpPr>
            <a:grpSpLocks/>
          </p:cNvGrpSpPr>
          <p:nvPr userDrawn="1"/>
        </p:nvGrpSpPr>
        <p:grpSpPr bwMode="auto">
          <a:xfrm>
            <a:off x="-166688" y="1449388"/>
            <a:ext cx="144463" cy="4891087"/>
            <a:chOff x="-165953" y="1448781"/>
            <a:chExt cx="144001" cy="4891981"/>
          </a:xfrm>
        </p:grpSpPr>
        <p:sp>
          <p:nvSpPr>
            <p:cNvPr id="16" name="Freihandform 22"/>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17" name="Freihandform 23"/>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18" name="Freihandform 39"/>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grpSp>
        <p:nvGrpSpPr>
          <p:cNvPr id="19" name="Gruppieren 40"/>
          <p:cNvGrpSpPr>
            <a:grpSpLocks/>
          </p:cNvGrpSpPr>
          <p:nvPr userDrawn="1"/>
        </p:nvGrpSpPr>
        <p:grpSpPr bwMode="auto">
          <a:xfrm>
            <a:off x="9166225" y="1449388"/>
            <a:ext cx="144463" cy="4895850"/>
            <a:chOff x="9166242" y="1448781"/>
            <a:chExt cx="144000" cy="4896542"/>
          </a:xfrm>
        </p:grpSpPr>
        <p:sp>
          <p:nvSpPr>
            <p:cNvPr id="20" name="Freihandform 25"/>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21" name="Freihandform 47"/>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22" name="Freihandform 47"/>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pic>
        <p:nvPicPr>
          <p:cNvPr id="23" name="Obrázok 53"/>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61938" y="295275"/>
            <a:ext cx="592137"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Obrázok 54"/>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659563" y="1474788"/>
            <a:ext cx="1847850"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platzhalter 45"/>
          <p:cNvSpPr>
            <a:spLocks noGrp="1"/>
          </p:cNvSpPr>
          <p:nvPr>
            <p:ph type="body" sz="quarter" idx="12"/>
          </p:nvPr>
        </p:nvSpPr>
        <p:spPr>
          <a:xfrm>
            <a:off x="0" y="-3"/>
            <a:ext cx="9144000" cy="6859200"/>
          </a:xfrm>
          <a:solidFill>
            <a:srgbClr val="00875A"/>
          </a:solidFill>
        </p:spPr>
        <p:txBody>
          <a:bodyPr>
            <a:noAutofit/>
          </a:bodyPr>
          <a:lstStyle>
            <a:lvl1pPr marL="0" indent="0">
              <a:buNone/>
              <a:defRPr>
                <a:solidFill>
                  <a:schemeClr val="bg1"/>
                </a:solidFill>
              </a:defRPr>
            </a:lvl1pPr>
          </a:lstStyle>
          <a:p>
            <a:pPr lvl="0"/>
            <a:r>
              <a:rPr lang="sk-SK" noProof="0"/>
              <a:t>Upraviť štýly predlohy textu</a:t>
            </a:r>
          </a:p>
        </p:txBody>
      </p:sp>
      <p:sp>
        <p:nvSpPr>
          <p:cNvPr id="42" name="Titel 1"/>
          <p:cNvSpPr>
            <a:spLocks noGrp="1"/>
          </p:cNvSpPr>
          <p:nvPr>
            <p:ph type="ctrTitle"/>
          </p:nvPr>
        </p:nvSpPr>
        <p:spPr bwMode="gray">
          <a:xfrm>
            <a:off x="4428000" y="2889250"/>
            <a:ext cx="3565063" cy="2198884"/>
          </a:xfrm>
          <a:noFill/>
        </p:spPr>
        <p:txBody>
          <a:bodyPr anchor="b">
            <a:noAutofit/>
          </a:bodyPr>
          <a:lstStyle>
            <a:lvl1pPr>
              <a:defRPr sz="2800" b="0">
                <a:solidFill>
                  <a:schemeClr val="bg1"/>
                </a:solidFill>
              </a:defRPr>
            </a:lvl1pPr>
          </a:lstStyle>
          <a:p>
            <a:r>
              <a:rPr lang="sk-SK" noProof="0"/>
              <a:t>Upravte štýly predlohy textu</a:t>
            </a:r>
            <a:endParaRPr lang="en-GB" noProof="0"/>
          </a:p>
        </p:txBody>
      </p:sp>
      <p:sp>
        <p:nvSpPr>
          <p:cNvPr id="25" name="Fußzeilenplatzhalter 4"/>
          <p:cNvSpPr>
            <a:spLocks noGrp="1"/>
          </p:cNvSpPr>
          <p:nvPr>
            <p:ph type="ftr" sz="quarter" idx="13"/>
          </p:nvPr>
        </p:nvSpPr>
        <p:spPr>
          <a:xfrm>
            <a:off x="4427538" y="5229225"/>
            <a:ext cx="3565525" cy="153988"/>
          </a:xfrm>
        </p:spPr>
        <p:txBody>
          <a:bodyPr anchor="t" anchorCtr="0"/>
          <a:lstStyle>
            <a:lvl1pPr>
              <a:defRPr>
                <a:solidFill>
                  <a:schemeClr val="bg1"/>
                </a:solidFill>
              </a:defRPr>
            </a:lvl1pPr>
          </a:lstStyle>
          <a:p>
            <a:pPr>
              <a:defRPr/>
            </a:pPr>
            <a:endParaRPr lang="en-GB"/>
          </a:p>
        </p:txBody>
      </p:sp>
    </p:spTree>
    <p:extLst>
      <p:ext uri="{BB962C8B-B14F-4D97-AF65-F5344CB8AC3E}">
        <p14:creationId xmlns:p14="http://schemas.microsoft.com/office/powerpoint/2010/main" val="599634573"/>
      </p:ext>
    </p:extLst>
  </p:cSld>
  <p:clrMapOvr>
    <a:masterClrMapping/>
  </p:clrMapOvr>
  <p:transition spd="med">
    <p:pull/>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ri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8810803"/>
      </p:ext>
    </p:extLst>
  </p:cSld>
  <p:clrMapOvr>
    <a:masterClrMapping/>
  </p:clrMapOvr>
  <p:transition spd="med">
    <p:pull/>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Screen">
    <p:spTree>
      <p:nvGrpSpPr>
        <p:cNvPr id="1" name=""/>
        <p:cNvGrpSpPr/>
        <p:nvPr/>
      </p:nvGrpSpPr>
      <p:grpSpPr>
        <a:xfrm>
          <a:off x="0" y="0"/>
          <a:ext cx="0" cy="0"/>
          <a:chOff x="0" y="0"/>
          <a:chExt cx="0" cy="0"/>
        </a:xfrm>
      </p:grpSpPr>
      <p:graphicFrame>
        <p:nvGraphicFramePr>
          <p:cNvPr id="3"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10794" name="think-cell Folie" r:id="rId4" imgW="360" imgH="360" progId="">
                  <p:embed/>
                </p:oleObj>
              </mc:Choice>
              <mc:Fallback>
                <p:oleObj name="think-cell Folie" r:id="rId4" imgW="360" imgH="360" progId="">
                  <p:embed/>
                  <p:pic>
                    <p:nvPicPr>
                      <p:cNvPr id="9225"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BlokTextu 32"/>
          <p:cNvSpPr txBox="1">
            <a:spLocks noChangeArrowheads="1"/>
          </p:cNvSpPr>
          <p:nvPr userDrawn="1"/>
        </p:nvSpPr>
        <p:spPr bwMode="auto">
          <a:xfrm>
            <a:off x="8101013" y="6381750"/>
            <a:ext cx="8636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Font typeface="Arial" panose="020B0604020202020204" pitchFamily="34" charset="0"/>
              <a:buNone/>
              <a:defRPr/>
            </a:pPr>
            <a:r>
              <a:rPr lang="sk-SK" altLang="sk-SK" sz="1100">
                <a:solidFill>
                  <a:schemeClr val="bg1"/>
                </a:solidFill>
              </a:rPr>
              <a:t>Člen </a:t>
            </a:r>
            <a:r>
              <a:rPr lang="sk-SK" altLang="sk-SK" sz="1100" b="1">
                <a:solidFill>
                  <a:schemeClr val="bg1"/>
                </a:solidFill>
              </a:rPr>
              <a:t>innogy</a:t>
            </a:r>
          </a:p>
        </p:txBody>
      </p:sp>
      <p:pic>
        <p:nvPicPr>
          <p:cNvPr id="5" name="Obrázok 35"/>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202613" y="423863"/>
            <a:ext cx="812800"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platzhalter 45"/>
          <p:cNvSpPr>
            <a:spLocks noGrp="1"/>
          </p:cNvSpPr>
          <p:nvPr>
            <p:ph type="body" sz="quarter" idx="12"/>
          </p:nvPr>
        </p:nvSpPr>
        <p:spPr>
          <a:xfrm>
            <a:off x="0" y="-3"/>
            <a:ext cx="9144000" cy="6859200"/>
          </a:xfrm>
          <a:solidFill>
            <a:schemeClr val="accent2"/>
          </a:solidFill>
        </p:spPr>
        <p:txBody>
          <a:bodyPr>
            <a:noAutofit/>
          </a:bodyPr>
          <a:lstStyle>
            <a:lvl1pPr marL="0" indent="0">
              <a:buNone/>
              <a:defRPr>
                <a:solidFill>
                  <a:schemeClr val="bg1"/>
                </a:solidFill>
              </a:defRPr>
            </a:lvl1pPr>
          </a:lstStyle>
          <a:p>
            <a:pPr lvl="0"/>
            <a:r>
              <a:rPr lang="sk-SK" noProof="0"/>
              <a:t>Upraviť štýly predlohy textu</a:t>
            </a:r>
          </a:p>
        </p:txBody>
      </p:sp>
    </p:spTree>
    <p:extLst>
      <p:ext uri="{BB962C8B-B14F-4D97-AF65-F5344CB8AC3E}">
        <p14:creationId xmlns:p14="http://schemas.microsoft.com/office/powerpoint/2010/main" val="3193060248"/>
      </p:ext>
    </p:extLst>
  </p:cSld>
  <p:clrMapOvr>
    <a:masterClrMapping/>
  </p:clrMapOvr>
  <p:transition spd="med">
    <p:pull/>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parator slide Print">
    <p:spTree>
      <p:nvGrpSpPr>
        <p:cNvPr id="1" name=""/>
        <p:cNvGrpSpPr/>
        <p:nvPr/>
      </p:nvGrpSpPr>
      <p:grpSpPr>
        <a:xfrm>
          <a:off x="0" y="0"/>
          <a:ext cx="0" cy="0"/>
          <a:chOff x="0" y="0"/>
          <a:chExt cx="0" cy="0"/>
        </a:xfrm>
      </p:grpSpPr>
      <p:graphicFrame>
        <p:nvGraphicFramePr>
          <p:cNvPr id="4" name="Objekt 31" hidden="1"/>
          <p:cNvGraphicFramePr>
            <a:graphicFrameLocks noChangeAspect="1"/>
          </p:cNvGraphicFramePr>
          <p:nvPr userDrawn="1">
            <p:custDataLst>
              <p:tags r:id="rId2"/>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11818" name="think-cell Folie" r:id="rId4" imgW="360" imgH="360" progId="">
                  <p:embed/>
                </p:oleObj>
              </mc:Choice>
              <mc:Fallback>
                <p:oleObj name="think-cell Folie" r:id="rId4" imgW="360" imgH="360" progId="">
                  <p:embed/>
                  <p:pic>
                    <p:nvPicPr>
                      <p:cNvPr id="10249" name="Objekt 3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3028464" y="1866284"/>
            <a:ext cx="4964599" cy="1523494"/>
          </a:xfrm>
        </p:spPr>
        <p:txBody>
          <a:bodyPr anchor="b"/>
          <a:lstStyle>
            <a:lvl1pPr>
              <a:defRPr sz="5500" b="0" cap="all" baseline="0">
                <a:solidFill>
                  <a:srgbClr val="E60055"/>
                </a:solidFill>
              </a:defRPr>
            </a:lvl1pPr>
          </a:lstStyle>
          <a:p>
            <a:r>
              <a:rPr lang="sk-SK" noProof="0"/>
              <a:t>Upravte štýly predlohy textu</a:t>
            </a:r>
            <a:endParaRPr lang="en-GB" noProof="0"/>
          </a:p>
        </p:txBody>
      </p:sp>
      <p:sp>
        <p:nvSpPr>
          <p:cNvPr id="10" name="Textplatzhalter 9"/>
          <p:cNvSpPr>
            <a:spLocks noGrp="1"/>
          </p:cNvSpPr>
          <p:nvPr>
            <p:ph type="body" sz="quarter" idx="10"/>
          </p:nvPr>
        </p:nvSpPr>
        <p:spPr>
          <a:xfrm>
            <a:off x="3027967" y="3424735"/>
            <a:ext cx="4963255" cy="430887"/>
          </a:xfrm>
        </p:spPr>
        <p:txBody>
          <a:bodyPr rtlCol="0">
            <a:spAutoFit/>
          </a:bodyPr>
          <a:lstStyle>
            <a:lvl1pPr marL="0" indent="0">
              <a:buNone/>
              <a:defRPr lang="de-DE" sz="2800" b="0" cap="none" baseline="0" smtClean="0">
                <a:latin typeface="+mj-lt"/>
                <a:ea typeface="+mj-ea"/>
                <a:cs typeface="+mj-cs"/>
              </a:defRPr>
            </a:lvl1pPr>
            <a:lvl2pPr>
              <a:defRPr lang="de-DE" sz="1800" smtClean="0"/>
            </a:lvl2pPr>
            <a:lvl3pPr>
              <a:defRPr lang="de-DE" sz="1800" smtClean="0"/>
            </a:lvl3pPr>
            <a:lvl4pPr>
              <a:defRPr lang="de-DE" sz="1800" smtClean="0"/>
            </a:lvl4pPr>
            <a:lvl5pPr>
              <a:defRPr lang="de-DE" sz="1800"/>
            </a:lvl5pPr>
          </a:lstStyle>
          <a:p>
            <a:pPr lvl="0"/>
            <a:r>
              <a:rPr lang="sk-SK" noProof="0"/>
              <a:t>Upraviť štýly predlohy textu</a:t>
            </a:r>
          </a:p>
        </p:txBody>
      </p:sp>
    </p:spTree>
    <p:extLst>
      <p:ext uri="{BB962C8B-B14F-4D97-AF65-F5344CB8AC3E}">
        <p14:creationId xmlns:p14="http://schemas.microsoft.com/office/powerpoint/2010/main" val="1563335371"/>
      </p:ext>
    </p:extLst>
  </p:cSld>
  <p:clrMapOvr>
    <a:masterClrMapping/>
  </p:clrMapOvr>
  <p:transition spd="med">
    <p:pull/>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kt 12" hidden="1"/>
          <p:cNvGraphicFramePr>
            <a:graphicFrameLocks noChangeAspect="1"/>
          </p:cNvGraphicFramePr>
          <p:nvPr>
            <p:custDataLst>
              <p:tags r:id="rId40"/>
            </p:custDataLst>
          </p:nvPr>
        </p:nvGraphicFramePr>
        <p:xfrm>
          <a:off x="1588" y="1588"/>
          <a:ext cx="1587" cy="3175"/>
        </p:xfrm>
        <a:graphic>
          <a:graphicData uri="http://schemas.openxmlformats.org/presentationml/2006/ole">
            <mc:AlternateContent xmlns:mc="http://schemas.openxmlformats.org/markup-compatibility/2006">
              <mc:Choice xmlns:v="urn:schemas-microsoft-com:vml" Requires="v">
                <p:oleObj spid="_x0000_s1252" name="think-cell Folie" r:id="rId41" imgW="360" imgH="360" progId="">
                  <p:embed/>
                </p:oleObj>
              </mc:Choice>
              <mc:Fallback>
                <p:oleObj name="think-cell Folie" r:id="rId41" imgW="360" imgH="360" progId="">
                  <p:embed/>
                  <p:pic>
                    <p:nvPicPr>
                      <p:cNvPr id="0" name="Objekt 12" hidden="1"/>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88" y="1588"/>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elplatzhalter 1"/>
          <p:cNvSpPr>
            <a:spLocks noGrp="1"/>
          </p:cNvSpPr>
          <p:nvPr>
            <p:ph type="title"/>
          </p:nvPr>
        </p:nvSpPr>
        <p:spPr bwMode="gray">
          <a:xfrm>
            <a:off x="576263" y="474663"/>
            <a:ext cx="74168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sk-SK" altLang="sk-SK"/>
              <a:t>Upravte štýly predlohy textu</a:t>
            </a:r>
            <a:endParaRPr lang="de-DE" altLang="sk-SK"/>
          </a:p>
        </p:txBody>
      </p:sp>
      <p:sp>
        <p:nvSpPr>
          <p:cNvPr id="1028" name="Textplatzhalter 2"/>
          <p:cNvSpPr>
            <a:spLocks noGrp="1"/>
          </p:cNvSpPr>
          <p:nvPr>
            <p:ph type="body" idx="1"/>
          </p:nvPr>
        </p:nvSpPr>
        <p:spPr bwMode="gray">
          <a:xfrm>
            <a:off x="576263" y="1670050"/>
            <a:ext cx="7416800" cy="467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sk-SK"/>
              <a:t>Third level</a:t>
            </a:r>
          </a:p>
          <a:p>
            <a:pPr lvl="1"/>
            <a:r>
              <a:rPr lang="de-DE" altLang="sk-SK"/>
              <a:t>Fourth level</a:t>
            </a:r>
          </a:p>
          <a:p>
            <a:pPr lvl="2"/>
            <a:r>
              <a:rPr lang="de-DE" altLang="sk-SK"/>
              <a:t>Fifth level</a:t>
            </a:r>
          </a:p>
          <a:p>
            <a:pPr lvl="3"/>
            <a:r>
              <a:rPr lang="en-US" altLang="sk-SK"/>
              <a:t>Click to edit Master text styles</a:t>
            </a:r>
          </a:p>
          <a:p>
            <a:pPr lvl="4"/>
            <a:r>
              <a:rPr lang="de-DE" altLang="sk-SK"/>
              <a:t>Second level</a:t>
            </a:r>
          </a:p>
        </p:txBody>
      </p:sp>
      <p:sp>
        <p:nvSpPr>
          <p:cNvPr id="5" name="Fußzeilenplatzhalter 4"/>
          <p:cNvSpPr>
            <a:spLocks noGrp="1"/>
          </p:cNvSpPr>
          <p:nvPr>
            <p:ph type="ftr" sz="quarter" idx="3"/>
          </p:nvPr>
        </p:nvSpPr>
        <p:spPr bwMode="gray">
          <a:xfrm>
            <a:off x="576263" y="6429375"/>
            <a:ext cx="6478587" cy="152400"/>
          </a:xfrm>
          <a:prstGeom prst="rect">
            <a:avLst/>
          </a:prstGeom>
        </p:spPr>
        <p:txBody>
          <a:bodyPr vert="horz" lIns="0" tIns="0" rIns="0" bIns="0" rtlCol="0" anchor="ctr">
            <a:spAutoFit/>
          </a:bodyPr>
          <a:lstStyle>
            <a:lvl1pPr algn="l" eaLnBrk="1" fontAlgn="auto" hangingPunct="1">
              <a:spcBef>
                <a:spcPts val="0"/>
              </a:spcBef>
              <a:spcAft>
                <a:spcPts val="0"/>
              </a:spcAft>
              <a:defRPr sz="1000" b="0">
                <a:solidFill>
                  <a:schemeClr val="tx1"/>
                </a:solidFill>
                <a:latin typeface="+mn-lt"/>
              </a:defRPr>
            </a:lvl1pPr>
          </a:lstStyle>
          <a:p>
            <a:pPr>
              <a:defRPr/>
            </a:pPr>
            <a:endParaRPr lang="de-DE"/>
          </a:p>
        </p:txBody>
      </p:sp>
      <p:sp>
        <p:nvSpPr>
          <p:cNvPr id="6" name="Foliennummernplatzhalter 5"/>
          <p:cNvSpPr>
            <a:spLocks noGrp="1"/>
          </p:cNvSpPr>
          <p:nvPr>
            <p:ph type="sldNum" sz="quarter" idx="4"/>
          </p:nvPr>
        </p:nvSpPr>
        <p:spPr bwMode="gray">
          <a:xfrm>
            <a:off x="7332663" y="6429375"/>
            <a:ext cx="660400" cy="152400"/>
          </a:xfrm>
          <a:prstGeom prst="rect">
            <a:avLst/>
          </a:prstGeom>
        </p:spPr>
        <p:txBody>
          <a:bodyPr vert="horz" wrap="square" lIns="0" tIns="0" rIns="0" bIns="0" rtlCol="0" anchor="ctr">
            <a:spAutoFit/>
          </a:bodyPr>
          <a:lstStyle>
            <a:lvl1pPr algn="r" eaLnBrk="1" fontAlgn="auto" hangingPunct="1">
              <a:spcBef>
                <a:spcPts val="0"/>
              </a:spcBef>
              <a:spcAft>
                <a:spcPts val="0"/>
              </a:spcAft>
              <a:defRPr sz="1000">
                <a:solidFill>
                  <a:schemeClr val="tx1"/>
                </a:solidFill>
                <a:latin typeface="+mn-lt"/>
              </a:defRPr>
            </a:lvl1pPr>
          </a:lstStyle>
          <a:p>
            <a:pPr>
              <a:defRPr/>
            </a:pPr>
            <a:fld id="{9181ABFA-069E-40C6-9411-F683A1A8DC49}" type="slidenum">
              <a:rPr lang="de-DE"/>
              <a:pPr>
                <a:defRPr/>
              </a:pPr>
              <a:t>‹#›</a:t>
            </a:fld>
            <a:endParaRPr lang="de-DE" dirty="0"/>
          </a:p>
        </p:txBody>
      </p:sp>
      <p:grpSp>
        <p:nvGrpSpPr>
          <p:cNvPr id="1031" name="Gruppieren 20"/>
          <p:cNvGrpSpPr>
            <a:grpSpLocks/>
          </p:cNvGrpSpPr>
          <p:nvPr/>
        </p:nvGrpSpPr>
        <p:grpSpPr bwMode="auto">
          <a:xfrm>
            <a:off x="576263" y="-166688"/>
            <a:ext cx="7416800" cy="144463"/>
            <a:chOff x="575556" y="-124966"/>
            <a:chExt cx="7416824" cy="108000"/>
          </a:xfrm>
        </p:grpSpPr>
        <p:sp>
          <p:nvSpPr>
            <p:cNvPr id="4" name="Freihandform 3"/>
            <p:cNvSpPr/>
            <p:nvPr userDrawn="1"/>
          </p:nvSpPr>
          <p:spPr>
            <a:xfrm>
              <a:off x="575556"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10" name="Freihandform 9"/>
            <p:cNvSpPr/>
            <p:nvPr userDrawn="1"/>
          </p:nvSpPr>
          <p:spPr>
            <a:xfrm>
              <a:off x="4139505"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11" name="Freihandform 10"/>
            <p:cNvSpPr/>
            <p:nvPr userDrawn="1"/>
          </p:nvSpPr>
          <p:spPr>
            <a:xfrm>
              <a:off x="442843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12" name="Freihandform 11"/>
            <p:cNvSpPr/>
            <p:nvPr userDrawn="1"/>
          </p:nvSpPr>
          <p:spPr>
            <a:xfrm>
              <a:off x="7992380" y="-1249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grpSp>
        <p:nvGrpSpPr>
          <p:cNvPr id="1032" name="Gruppieren 44"/>
          <p:cNvGrpSpPr>
            <a:grpSpLocks/>
          </p:cNvGrpSpPr>
          <p:nvPr/>
        </p:nvGrpSpPr>
        <p:grpSpPr bwMode="auto">
          <a:xfrm>
            <a:off x="576263" y="6880225"/>
            <a:ext cx="7416800" cy="144463"/>
            <a:chOff x="575556" y="5160466"/>
            <a:chExt cx="7416824" cy="108000"/>
          </a:xfrm>
        </p:grpSpPr>
        <p:sp>
          <p:nvSpPr>
            <p:cNvPr id="15" name="Freihandform 14"/>
            <p:cNvSpPr/>
            <p:nvPr userDrawn="1"/>
          </p:nvSpPr>
          <p:spPr bwMode="gray">
            <a:xfrm>
              <a:off x="575556"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17" name="Freihandform 16"/>
            <p:cNvSpPr/>
            <p:nvPr userDrawn="1"/>
          </p:nvSpPr>
          <p:spPr bwMode="gray">
            <a:xfrm>
              <a:off x="4139505"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18" name="Freihandform 17"/>
            <p:cNvSpPr/>
            <p:nvPr userDrawn="1"/>
          </p:nvSpPr>
          <p:spPr bwMode="gray">
            <a:xfrm>
              <a:off x="442843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19" name="Freihandform 18"/>
            <p:cNvSpPr/>
            <p:nvPr userDrawn="1"/>
          </p:nvSpPr>
          <p:spPr bwMode="gray">
            <a:xfrm>
              <a:off x="7992380" y="5160466"/>
              <a:ext cx="0" cy="108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grpSp>
        <p:nvGrpSpPr>
          <p:cNvPr id="1033" name="Gruppieren 23"/>
          <p:cNvGrpSpPr>
            <a:grpSpLocks/>
          </p:cNvGrpSpPr>
          <p:nvPr userDrawn="1"/>
        </p:nvGrpSpPr>
        <p:grpSpPr bwMode="auto">
          <a:xfrm>
            <a:off x="-166688" y="1449388"/>
            <a:ext cx="144463" cy="4891087"/>
            <a:chOff x="-165953" y="1448781"/>
            <a:chExt cx="144001" cy="4891981"/>
          </a:xfrm>
        </p:grpSpPr>
        <p:sp>
          <p:nvSpPr>
            <p:cNvPr id="25" name="Freihandform 22"/>
            <p:cNvSpPr/>
            <p:nvPr/>
          </p:nvSpPr>
          <p:spPr bwMode="gray">
            <a:xfrm rot="16200000">
              <a:off x="-93952" y="6268761"/>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26" name="Freihandform 23"/>
            <p:cNvSpPr/>
            <p:nvPr/>
          </p:nvSpPr>
          <p:spPr bwMode="gray">
            <a:xfrm rot="16200000">
              <a:off x="-93952" y="166417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27" name="Freihandform 26"/>
            <p:cNvSpPr/>
            <p:nvPr userDrawn="1"/>
          </p:nvSpPr>
          <p:spPr bwMode="gray">
            <a:xfrm rot="16200000">
              <a:off x="-93952" y="1376780"/>
              <a:ext cx="0" cy="144001"/>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grpSp>
        <p:nvGrpSpPr>
          <p:cNvPr id="1034" name="Gruppieren 27"/>
          <p:cNvGrpSpPr>
            <a:grpSpLocks/>
          </p:cNvGrpSpPr>
          <p:nvPr userDrawn="1"/>
        </p:nvGrpSpPr>
        <p:grpSpPr bwMode="auto">
          <a:xfrm>
            <a:off x="9166225" y="1449388"/>
            <a:ext cx="144463" cy="4895850"/>
            <a:chOff x="9166242" y="1448781"/>
            <a:chExt cx="144000" cy="4896542"/>
          </a:xfrm>
        </p:grpSpPr>
        <p:sp>
          <p:nvSpPr>
            <p:cNvPr id="29" name="Freihandform 25"/>
            <p:cNvSpPr/>
            <p:nvPr userDrawn="1"/>
          </p:nvSpPr>
          <p:spPr>
            <a:xfrm rot="16200000">
              <a:off x="9238242" y="6273322"/>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30" name="Freihandform 47"/>
            <p:cNvSpPr/>
            <p:nvPr userDrawn="1"/>
          </p:nvSpPr>
          <p:spPr>
            <a:xfrm rot="16200000">
              <a:off x="9238242" y="1664158"/>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sp>
          <p:nvSpPr>
            <p:cNvPr id="31" name="Freihandform 47"/>
            <p:cNvSpPr/>
            <p:nvPr userDrawn="1"/>
          </p:nvSpPr>
          <p:spPr>
            <a:xfrm rot="16200000">
              <a:off x="9238242" y="1376780"/>
              <a:ext cx="0" cy="144000"/>
            </a:xfrm>
            <a:custGeom>
              <a:avLst/>
              <a:gdLst>
                <a:gd name="connsiteX0" fmla="*/ 0 w 0"/>
                <a:gd name="connsiteY0" fmla="*/ 0 h 293299"/>
                <a:gd name="connsiteX1" fmla="*/ 0 w 0"/>
                <a:gd name="connsiteY1" fmla="*/ 293299 h 293299"/>
              </a:gdLst>
              <a:ahLst/>
              <a:cxnLst>
                <a:cxn ang="0">
                  <a:pos x="connsiteX0" y="connsiteY0"/>
                </a:cxn>
                <a:cxn ang="0">
                  <a:pos x="connsiteX1" y="connsiteY1"/>
                </a:cxn>
              </a:cxnLst>
              <a:rect l="l" t="t" r="r" b="b"/>
              <a:pathLst>
                <a:path h="293299">
                  <a:moveTo>
                    <a:pt x="0" y="0"/>
                  </a:moveTo>
                  <a:lnTo>
                    <a:pt x="0" y="293299"/>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dirty="0"/>
            </a:p>
          </p:txBody>
        </p:sp>
      </p:grpSp>
      <p:sp>
        <p:nvSpPr>
          <p:cNvPr id="1035" name="BlokTextu 33"/>
          <p:cNvSpPr txBox="1">
            <a:spLocks noChangeArrowheads="1"/>
          </p:cNvSpPr>
          <p:nvPr userDrawn="1"/>
        </p:nvSpPr>
        <p:spPr bwMode="auto">
          <a:xfrm>
            <a:off x="8101013" y="6381750"/>
            <a:ext cx="8636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Font typeface="Arial" panose="020B0604020202020204" pitchFamily="34" charset="0"/>
              <a:buNone/>
              <a:defRPr/>
            </a:pPr>
            <a:r>
              <a:rPr lang="sk-SK" altLang="sk-SK" sz="1100"/>
              <a:t>Člen </a:t>
            </a:r>
            <a:r>
              <a:rPr lang="sk-SK" altLang="sk-SK" sz="1100" b="1"/>
              <a:t>innogy</a:t>
            </a:r>
          </a:p>
        </p:txBody>
      </p:sp>
      <p:pic>
        <p:nvPicPr>
          <p:cNvPr id="1036" name="Obrázok 34"/>
          <p:cNvPicPr>
            <a:picLocks noChangeAspect="1"/>
          </p:cNvPicPr>
          <p:nvPr userDrawn="1"/>
        </p:nvPicPr>
        <p:blipFill>
          <a:blip r:embed="rId43">
            <a:extLst>
              <a:ext uri="{28A0092B-C50C-407E-A947-70E740481C1C}">
                <a14:useLocalDpi xmlns:a14="http://schemas.microsoft.com/office/drawing/2010/main" val="0"/>
              </a:ext>
            </a:extLst>
          </a:blip>
          <a:srcRect/>
          <a:stretch>
            <a:fillRect/>
          </a:stretch>
        </p:blipFill>
        <p:spPr bwMode="auto">
          <a:xfrm>
            <a:off x="8183563" y="423863"/>
            <a:ext cx="823912"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252" r:id="rId1"/>
    <p:sldLayoutId id="2147485253" r:id="rId2"/>
    <p:sldLayoutId id="2147485254" r:id="rId3"/>
    <p:sldLayoutId id="2147485255" r:id="rId4"/>
    <p:sldLayoutId id="2147485256" r:id="rId5"/>
    <p:sldLayoutId id="2147485257" r:id="rId6"/>
    <p:sldLayoutId id="2147485258" r:id="rId7"/>
    <p:sldLayoutId id="2147485259" r:id="rId8"/>
    <p:sldLayoutId id="2147485260" r:id="rId9"/>
    <p:sldLayoutId id="2147485261" r:id="rId10"/>
    <p:sldLayoutId id="2147485262" r:id="rId11"/>
    <p:sldLayoutId id="2147485263" r:id="rId12"/>
    <p:sldLayoutId id="2147485264" r:id="rId13"/>
    <p:sldLayoutId id="2147485265" r:id="rId14"/>
    <p:sldLayoutId id="2147485266" r:id="rId15"/>
    <p:sldLayoutId id="2147485267" r:id="rId16"/>
    <p:sldLayoutId id="2147485268" r:id="rId17"/>
    <p:sldLayoutId id="2147485269" r:id="rId18"/>
    <p:sldLayoutId id="2147485270" r:id="rId19"/>
    <p:sldLayoutId id="2147485271" r:id="rId20"/>
    <p:sldLayoutId id="2147485272" r:id="rId21"/>
    <p:sldLayoutId id="2147485273" r:id="rId22"/>
    <p:sldLayoutId id="2147485274" r:id="rId23"/>
    <p:sldLayoutId id="2147485275" r:id="rId24"/>
    <p:sldLayoutId id="2147485276" r:id="rId25"/>
    <p:sldLayoutId id="2147485277" r:id="rId26"/>
    <p:sldLayoutId id="2147485278" r:id="rId27"/>
    <p:sldLayoutId id="2147485279" r:id="rId28"/>
    <p:sldLayoutId id="2147485280" r:id="rId29"/>
    <p:sldLayoutId id="2147485281" r:id="rId30"/>
    <p:sldLayoutId id="2147485282" r:id="rId31"/>
    <p:sldLayoutId id="2147485283" r:id="rId32"/>
    <p:sldLayoutId id="2147485284" r:id="rId33"/>
    <p:sldLayoutId id="2147485285" r:id="rId34"/>
    <p:sldLayoutId id="2147485286" r:id="rId35"/>
    <p:sldLayoutId id="2147485287" r:id="rId36"/>
    <p:sldLayoutId id="2147485288" r:id="rId37"/>
  </p:sldLayoutIdLst>
  <p:transition spd="med">
    <p:pull/>
  </p:transition>
  <p:hf hdr="0" dt="0"/>
  <p:txStyles>
    <p:titleStyle>
      <a:lvl1pPr algn="l" rtl="0" eaLnBrk="0" fontAlgn="base" hangingPunct="0">
        <a:lnSpc>
          <a:spcPct val="90000"/>
        </a:lnSpc>
        <a:spcBef>
          <a:spcPct val="0"/>
        </a:spcBef>
        <a:spcAft>
          <a:spcPct val="0"/>
        </a:spcAft>
        <a:defRPr sz="2600" kern="1200">
          <a:solidFill>
            <a:schemeClr val="tx1"/>
          </a:solidFill>
          <a:latin typeface="+mj-lt"/>
          <a:ea typeface="+mj-ea"/>
          <a:cs typeface="+mj-cs"/>
        </a:defRPr>
      </a:lvl1pPr>
      <a:lvl2pPr algn="l" rtl="0" eaLnBrk="0" fontAlgn="base" hangingPunct="0">
        <a:lnSpc>
          <a:spcPct val="90000"/>
        </a:lnSpc>
        <a:spcBef>
          <a:spcPct val="0"/>
        </a:spcBef>
        <a:spcAft>
          <a:spcPct val="0"/>
        </a:spcAft>
        <a:defRPr sz="2600">
          <a:solidFill>
            <a:schemeClr val="tx1"/>
          </a:solidFill>
          <a:latin typeface="Calibri" panose="020F0502020204030204" pitchFamily="34" charset="0"/>
        </a:defRPr>
      </a:lvl2pPr>
      <a:lvl3pPr algn="l" rtl="0" eaLnBrk="0" fontAlgn="base" hangingPunct="0">
        <a:lnSpc>
          <a:spcPct val="90000"/>
        </a:lnSpc>
        <a:spcBef>
          <a:spcPct val="0"/>
        </a:spcBef>
        <a:spcAft>
          <a:spcPct val="0"/>
        </a:spcAft>
        <a:defRPr sz="2600">
          <a:solidFill>
            <a:schemeClr val="tx1"/>
          </a:solidFill>
          <a:latin typeface="Calibri" panose="020F0502020204030204" pitchFamily="34" charset="0"/>
        </a:defRPr>
      </a:lvl3pPr>
      <a:lvl4pPr algn="l" rtl="0" eaLnBrk="0" fontAlgn="base" hangingPunct="0">
        <a:lnSpc>
          <a:spcPct val="90000"/>
        </a:lnSpc>
        <a:spcBef>
          <a:spcPct val="0"/>
        </a:spcBef>
        <a:spcAft>
          <a:spcPct val="0"/>
        </a:spcAft>
        <a:defRPr sz="2600">
          <a:solidFill>
            <a:schemeClr val="tx1"/>
          </a:solidFill>
          <a:latin typeface="Calibri" panose="020F0502020204030204" pitchFamily="34" charset="0"/>
        </a:defRPr>
      </a:lvl4pPr>
      <a:lvl5pPr algn="l" rtl="0" eaLnBrk="0" fontAlgn="base" hangingPunct="0">
        <a:lnSpc>
          <a:spcPct val="90000"/>
        </a:lnSpc>
        <a:spcBef>
          <a:spcPct val="0"/>
        </a:spcBef>
        <a:spcAft>
          <a:spcPct val="0"/>
        </a:spcAft>
        <a:defRPr sz="2600">
          <a:solidFill>
            <a:schemeClr val="tx1"/>
          </a:solidFill>
          <a:latin typeface="Calibri" panose="020F0502020204030204" pitchFamily="34" charset="0"/>
        </a:defRPr>
      </a:lvl5pPr>
      <a:lvl6pPr marL="457200" algn="l" rtl="0" fontAlgn="base">
        <a:lnSpc>
          <a:spcPct val="90000"/>
        </a:lnSpc>
        <a:spcBef>
          <a:spcPct val="0"/>
        </a:spcBef>
        <a:spcAft>
          <a:spcPct val="0"/>
        </a:spcAft>
        <a:defRPr sz="2600">
          <a:solidFill>
            <a:schemeClr val="tx1"/>
          </a:solidFill>
          <a:latin typeface="Calibri" panose="020F0502020204030204" pitchFamily="34" charset="0"/>
        </a:defRPr>
      </a:lvl6pPr>
      <a:lvl7pPr marL="914400" algn="l" rtl="0" fontAlgn="base">
        <a:lnSpc>
          <a:spcPct val="90000"/>
        </a:lnSpc>
        <a:spcBef>
          <a:spcPct val="0"/>
        </a:spcBef>
        <a:spcAft>
          <a:spcPct val="0"/>
        </a:spcAft>
        <a:defRPr sz="2600">
          <a:solidFill>
            <a:schemeClr val="tx1"/>
          </a:solidFill>
          <a:latin typeface="Calibri" panose="020F0502020204030204" pitchFamily="34" charset="0"/>
        </a:defRPr>
      </a:lvl7pPr>
      <a:lvl8pPr marL="1371600" algn="l" rtl="0" fontAlgn="base">
        <a:lnSpc>
          <a:spcPct val="90000"/>
        </a:lnSpc>
        <a:spcBef>
          <a:spcPct val="0"/>
        </a:spcBef>
        <a:spcAft>
          <a:spcPct val="0"/>
        </a:spcAft>
        <a:defRPr sz="2600">
          <a:solidFill>
            <a:schemeClr val="tx1"/>
          </a:solidFill>
          <a:latin typeface="Calibri" panose="020F0502020204030204" pitchFamily="34" charset="0"/>
        </a:defRPr>
      </a:lvl8pPr>
      <a:lvl9pPr marL="1828800" algn="l" rtl="0" fontAlgn="base">
        <a:lnSpc>
          <a:spcPct val="90000"/>
        </a:lnSpc>
        <a:spcBef>
          <a:spcPct val="0"/>
        </a:spcBef>
        <a:spcAft>
          <a:spcPct val="0"/>
        </a:spcAft>
        <a:defRPr sz="2600">
          <a:solidFill>
            <a:schemeClr val="tx1"/>
          </a:solidFill>
          <a:latin typeface="Calibri" panose="020F0502020204030204" pitchFamily="34" charset="0"/>
        </a:defRPr>
      </a:lvl9pPr>
    </p:titleStyle>
    <p:bodyStyle>
      <a:lvl1pPr marL="179388" indent="-179388" algn="l" rtl="0" eaLnBrk="0" fontAlgn="base" hangingPunct="0">
        <a:spcBef>
          <a:spcPts val="300"/>
        </a:spcBef>
        <a:spcAft>
          <a:spcPct val="0"/>
        </a:spcAft>
        <a:buFont typeface="Arial" panose="020B0604020202020204" pitchFamily="34" charset="0"/>
        <a:buChar char="•"/>
        <a:defRPr kern="1200">
          <a:solidFill>
            <a:schemeClr val="tx1"/>
          </a:solidFill>
          <a:latin typeface="+mn-lt"/>
          <a:ea typeface="+mn-ea"/>
          <a:cs typeface="+mn-cs"/>
        </a:defRPr>
      </a:lvl1pPr>
      <a:lvl2pPr marL="360363" indent="-180975" algn="l" rtl="0" eaLnBrk="0" fontAlgn="base" hangingPunct="0">
        <a:spcBef>
          <a:spcPts val="200"/>
        </a:spcBef>
        <a:spcAft>
          <a:spcPct val="0"/>
        </a:spcAft>
        <a:buFont typeface="Symbol" panose="05050102010706020507" pitchFamily="18" charset="2"/>
        <a:buChar char="-"/>
        <a:defRPr kern="1200">
          <a:solidFill>
            <a:schemeClr val="tx1"/>
          </a:solidFill>
          <a:latin typeface="+mn-lt"/>
          <a:ea typeface="+mn-ea"/>
          <a:cs typeface="+mn-cs"/>
        </a:defRPr>
      </a:lvl2pPr>
      <a:lvl3pPr marL="538163" indent="-179388" algn="l" rtl="0" eaLnBrk="0" fontAlgn="base" hangingPunct="0">
        <a:spcBef>
          <a:spcPts val="200"/>
        </a:spcBef>
        <a:spcAft>
          <a:spcPct val="0"/>
        </a:spcAft>
        <a:buFont typeface="Arial" panose="020B0604020202020204" pitchFamily="34" charset="0"/>
        <a:buChar char="•"/>
        <a:defRPr kern="1200">
          <a:solidFill>
            <a:schemeClr val="tx1"/>
          </a:solidFill>
          <a:latin typeface="+mn-lt"/>
          <a:ea typeface="+mn-ea"/>
          <a:cs typeface="+mn-cs"/>
        </a:defRPr>
      </a:lvl3pPr>
      <a:lvl4pPr algn="l" rtl="0" eaLnBrk="0" fontAlgn="base" hangingPunct="0">
        <a:spcBef>
          <a:spcPts val="1000"/>
        </a:spcBef>
        <a:spcAft>
          <a:spcPct val="0"/>
        </a:spcAft>
        <a:buFont typeface="Arial" panose="020B0604020202020204" pitchFamily="34" charset="0"/>
        <a:defRPr b="1" kern="1200">
          <a:solidFill>
            <a:schemeClr val="tx1"/>
          </a:solidFill>
          <a:latin typeface="+mn-lt"/>
          <a:ea typeface="+mn-ea"/>
          <a:cs typeface="+mn-cs"/>
        </a:defRPr>
      </a:lvl4pPr>
      <a:lvl5pPr algn="l" rtl="0" eaLnBrk="0" fontAlgn="base" hangingPunct="0">
        <a:spcBef>
          <a:spcPts val="600"/>
        </a:spcBef>
        <a:spcAft>
          <a:spcPct val="0"/>
        </a:spcAft>
        <a:buFont typeface="Arial" panose="020B0604020202020204" pitchFamily="34" charset="0"/>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9.jpeg"/><Relationship Id="rId5" Type="http://schemas.openxmlformats.org/officeDocument/2006/relationships/image" Target="../media/image8.png"/><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6.png"/><Relationship Id="rId5" Type="http://schemas.openxmlformats.org/officeDocument/2006/relationships/image" Target="../media/image11.jpeg"/><Relationship Id="rId4" Type="http://schemas.openxmlformats.org/officeDocument/2006/relationships/image" Target="../media/image15.JP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1.xml"/><Relationship Id="rId4" Type="http://schemas.openxmlformats.org/officeDocument/2006/relationships/hyperlink" Target="https://www.test.predplatenaelektrina.sk/"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21.JPG"/><Relationship Id="rId5" Type="http://schemas.openxmlformats.org/officeDocument/2006/relationships/hyperlink" Target="http://www.predplatenaelektrina.sk/" TargetMode="External"/><Relationship Id="rId4" Type="http://schemas.openxmlformats.org/officeDocument/2006/relationships/image" Target="../media/image20.JPG"/></Relationships>
</file>

<file path=ppt/slides/_rels/slide9.xml.rels><?xml version="1.0" encoding="UTF-8" standalone="yes"?>
<Relationships xmlns="http://schemas.openxmlformats.org/package/2006/relationships"><Relationship Id="rId3" Type="http://schemas.openxmlformats.org/officeDocument/2006/relationships/hyperlink" Target="http://www.predplatenaelektrina.sk/" TargetMode="External"/><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bwMode="gray">
      <p:bgPr>
        <a:solidFill>
          <a:srgbClr val="143C8C"/>
        </a:solidFill>
        <a:effectLst/>
      </p:bgPr>
    </p:bg>
    <p:spTree>
      <p:nvGrpSpPr>
        <p:cNvPr id="1" name=""/>
        <p:cNvGrpSpPr/>
        <p:nvPr/>
      </p:nvGrpSpPr>
      <p:grpSpPr>
        <a:xfrm>
          <a:off x="0" y="0"/>
          <a:ext cx="0" cy="0"/>
          <a:chOff x="0" y="0"/>
          <a:chExt cx="0" cy="0"/>
        </a:xfrm>
      </p:grpSpPr>
      <p:sp>
        <p:nvSpPr>
          <p:cNvPr id="44035" name="Fußzeilenplatzhalter 3"/>
          <p:cNvSpPr>
            <a:spLocks noGrp="1"/>
          </p:cNvSpPr>
          <p:nvPr>
            <p:ph type="ftr" sz="quarter" idx="10"/>
          </p:nvPr>
        </p:nvSpPr>
        <p:spPr>
          <a:xfrm>
            <a:off x="3347864" y="6309320"/>
            <a:ext cx="5400600" cy="49244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r>
              <a:rPr lang="sk-SK" altLang="sk-SK" sz="1600" dirty="0">
                <a:solidFill>
                  <a:schemeClr val="bg1"/>
                </a:solidFill>
              </a:rPr>
              <a:t>Ing. Jarmila Verešová, Východoslovenská distribučná a. s. </a:t>
            </a:r>
            <a:endParaRPr lang="en-GB" altLang="sk-SK" sz="1600" dirty="0">
              <a:solidFill>
                <a:schemeClr val="bg1"/>
              </a:solidFill>
            </a:endParaRPr>
          </a:p>
        </p:txBody>
      </p:sp>
      <p:pic>
        <p:nvPicPr>
          <p:cNvPr id="44036" name="Obrázok 1"/>
          <p:cNvPicPr>
            <a:picLocks noChangeAspect="1"/>
          </p:cNvPicPr>
          <p:nvPr/>
        </p:nvPicPr>
        <p:blipFill>
          <a:blip r:embed="rId5">
            <a:extLst>
              <a:ext uri="{28A0092B-C50C-407E-A947-70E740481C1C}">
                <a14:useLocalDpi xmlns:a14="http://schemas.microsoft.com/office/drawing/2010/main" val="0"/>
              </a:ext>
            </a:extLst>
          </a:blip>
          <a:srcRect b="13393"/>
          <a:stretch>
            <a:fillRect/>
          </a:stretch>
        </p:blipFill>
        <p:spPr bwMode="auto">
          <a:xfrm>
            <a:off x="179388" y="3644900"/>
            <a:ext cx="3538537" cy="321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el 4">
            <a:extLst>
              <a:ext uri="{FF2B5EF4-FFF2-40B4-BE49-F238E27FC236}">
                <a16:creationId xmlns:a16="http://schemas.microsoft.com/office/drawing/2014/main" id="{0D585CDF-8F87-4D45-A69B-D86FEF4B54FB}"/>
              </a:ext>
            </a:extLst>
          </p:cNvPr>
          <p:cNvSpPr txBox="1">
            <a:spLocks/>
          </p:cNvSpPr>
          <p:nvPr/>
        </p:nvSpPr>
        <p:spPr bwMode="gray">
          <a:xfrm>
            <a:off x="1259632" y="322041"/>
            <a:ext cx="7416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Autofit/>
          </a:bodyPr>
          <a:lstStyle>
            <a:lvl1pPr algn="l" rtl="0" eaLnBrk="0" fontAlgn="base" hangingPunct="0">
              <a:lnSpc>
                <a:spcPct val="90000"/>
              </a:lnSpc>
              <a:spcBef>
                <a:spcPct val="0"/>
              </a:spcBef>
              <a:spcAft>
                <a:spcPct val="0"/>
              </a:spcAft>
              <a:defRPr sz="2800" b="0" kern="1200">
                <a:solidFill>
                  <a:schemeClr val="bg1"/>
                </a:solidFill>
                <a:latin typeface="+mj-lt"/>
                <a:ea typeface="+mj-ea"/>
                <a:cs typeface="+mj-cs"/>
              </a:defRPr>
            </a:lvl1pPr>
            <a:lvl2pPr algn="l" rtl="0" eaLnBrk="0" fontAlgn="base" hangingPunct="0">
              <a:lnSpc>
                <a:spcPct val="90000"/>
              </a:lnSpc>
              <a:spcBef>
                <a:spcPct val="0"/>
              </a:spcBef>
              <a:spcAft>
                <a:spcPct val="0"/>
              </a:spcAft>
              <a:defRPr sz="2600">
                <a:solidFill>
                  <a:schemeClr val="tx1"/>
                </a:solidFill>
                <a:latin typeface="Calibri" panose="020F0502020204030204" pitchFamily="34" charset="0"/>
              </a:defRPr>
            </a:lvl2pPr>
            <a:lvl3pPr algn="l" rtl="0" eaLnBrk="0" fontAlgn="base" hangingPunct="0">
              <a:lnSpc>
                <a:spcPct val="90000"/>
              </a:lnSpc>
              <a:spcBef>
                <a:spcPct val="0"/>
              </a:spcBef>
              <a:spcAft>
                <a:spcPct val="0"/>
              </a:spcAft>
              <a:defRPr sz="2600">
                <a:solidFill>
                  <a:schemeClr val="tx1"/>
                </a:solidFill>
                <a:latin typeface="Calibri" panose="020F0502020204030204" pitchFamily="34" charset="0"/>
              </a:defRPr>
            </a:lvl3pPr>
            <a:lvl4pPr algn="l" rtl="0" eaLnBrk="0" fontAlgn="base" hangingPunct="0">
              <a:lnSpc>
                <a:spcPct val="90000"/>
              </a:lnSpc>
              <a:spcBef>
                <a:spcPct val="0"/>
              </a:spcBef>
              <a:spcAft>
                <a:spcPct val="0"/>
              </a:spcAft>
              <a:defRPr sz="2600">
                <a:solidFill>
                  <a:schemeClr val="tx1"/>
                </a:solidFill>
                <a:latin typeface="Calibri" panose="020F0502020204030204" pitchFamily="34" charset="0"/>
              </a:defRPr>
            </a:lvl4pPr>
            <a:lvl5pPr algn="l" rtl="0" eaLnBrk="0" fontAlgn="base" hangingPunct="0">
              <a:lnSpc>
                <a:spcPct val="90000"/>
              </a:lnSpc>
              <a:spcBef>
                <a:spcPct val="0"/>
              </a:spcBef>
              <a:spcAft>
                <a:spcPct val="0"/>
              </a:spcAft>
              <a:defRPr sz="2600">
                <a:solidFill>
                  <a:schemeClr val="tx1"/>
                </a:solidFill>
                <a:latin typeface="Calibri" panose="020F0502020204030204" pitchFamily="34" charset="0"/>
              </a:defRPr>
            </a:lvl5pPr>
            <a:lvl6pPr marL="457200" algn="l" rtl="0" fontAlgn="base">
              <a:lnSpc>
                <a:spcPct val="90000"/>
              </a:lnSpc>
              <a:spcBef>
                <a:spcPct val="0"/>
              </a:spcBef>
              <a:spcAft>
                <a:spcPct val="0"/>
              </a:spcAft>
              <a:defRPr sz="2600">
                <a:solidFill>
                  <a:schemeClr val="tx1"/>
                </a:solidFill>
                <a:latin typeface="Calibri" panose="020F0502020204030204" pitchFamily="34" charset="0"/>
              </a:defRPr>
            </a:lvl6pPr>
            <a:lvl7pPr marL="914400" algn="l" rtl="0" fontAlgn="base">
              <a:lnSpc>
                <a:spcPct val="90000"/>
              </a:lnSpc>
              <a:spcBef>
                <a:spcPct val="0"/>
              </a:spcBef>
              <a:spcAft>
                <a:spcPct val="0"/>
              </a:spcAft>
              <a:defRPr sz="2600">
                <a:solidFill>
                  <a:schemeClr val="tx1"/>
                </a:solidFill>
                <a:latin typeface="Calibri" panose="020F0502020204030204" pitchFamily="34" charset="0"/>
              </a:defRPr>
            </a:lvl7pPr>
            <a:lvl8pPr marL="1371600" algn="l" rtl="0" fontAlgn="base">
              <a:lnSpc>
                <a:spcPct val="90000"/>
              </a:lnSpc>
              <a:spcBef>
                <a:spcPct val="0"/>
              </a:spcBef>
              <a:spcAft>
                <a:spcPct val="0"/>
              </a:spcAft>
              <a:defRPr sz="2600">
                <a:solidFill>
                  <a:schemeClr val="tx1"/>
                </a:solidFill>
                <a:latin typeface="Calibri" panose="020F0502020204030204" pitchFamily="34" charset="0"/>
              </a:defRPr>
            </a:lvl8pPr>
            <a:lvl9pPr marL="1828800" algn="l" rtl="0" fontAlgn="base">
              <a:lnSpc>
                <a:spcPct val="90000"/>
              </a:lnSpc>
              <a:spcBef>
                <a:spcPct val="0"/>
              </a:spcBef>
              <a:spcAft>
                <a:spcPct val="0"/>
              </a:spcAft>
              <a:defRPr sz="2600">
                <a:solidFill>
                  <a:schemeClr val="tx1"/>
                </a:solidFill>
                <a:latin typeface="Calibri" panose="020F0502020204030204" pitchFamily="34" charset="0"/>
              </a:defRPr>
            </a:lvl9pPr>
          </a:lstStyle>
          <a:p>
            <a:pPr eaLnBrk="1" hangingPunct="1"/>
            <a:r>
              <a:rPr lang="sk-SK" altLang="sk-SK" b="1" dirty="0"/>
              <a:t>Východoslovenská distribučná</a:t>
            </a:r>
            <a:br>
              <a:rPr lang="sk-SK" altLang="sk-SK" b="1" dirty="0"/>
            </a:br>
            <a:r>
              <a:rPr lang="sk-SK" altLang="sk-SK" dirty="0"/>
              <a:t>Spoľahlivý prevádzkovateľ sústavy</a:t>
            </a:r>
            <a:endParaRPr lang="en-GB" altLang="sk-SK" dirty="0"/>
          </a:p>
        </p:txBody>
      </p:sp>
      <p:pic>
        <p:nvPicPr>
          <p:cNvPr id="12" name="Zástupný objekt pre obrázok 2">
            <a:extLst>
              <a:ext uri="{FF2B5EF4-FFF2-40B4-BE49-F238E27FC236}">
                <a16:creationId xmlns:a16="http://schemas.microsoft.com/office/drawing/2014/main" id="{26255DC3-E58A-46A3-B831-1BFD0BD6981E}"/>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a:xfrm>
            <a:off x="4355976" y="2699723"/>
            <a:ext cx="2783723" cy="3406173"/>
          </a:xfrm>
          <a:prstGeom prst="rect">
            <a:avLst/>
          </a:prstGeom>
          <a:blipFill dpi="0" rotWithShape="1">
            <a:srcRect/>
          </a:blipFill>
        </p:spPr>
      </p:pic>
      <p:grpSp>
        <p:nvGrpSpPr>
          <p:cNvPr id="13" name="Skupina 12">
            <a:extLst>
              <a:ext uri="{FF2B5EF4-FFF2-40B4-BE49-F238E27FC236}">
                <a16:creationId xmlns:a16="http://schemas.microsoft.com/office/drawing/2014/main" id="{D9BF126F-D7EF-4714-BD51-5C7B0C9EAA47}"/>
              </a:ext>
            </a:extLst>
          </p:cNvPr>
          <p:cNvGrpSpPr/>
          <p:nvPr/>
        </p:nvGrpSpPr>
        <p:grpSpPr>
          <a:xfrm>
            <a:off x="409441" y="1199614"/>
            <a:ext cx="3350086" cy="1388580"/>
            <a:chOff x="1035050" y="1217613"/>
            <a:chExt cx="3870435" cy="2085975"/>
          </a:xfrm>
        </p:grpSpPr>
        <p:sp>
          <p:nvSpPr>
            <p:cNvPr id="14" name="McK Footnote">
              <a:extLst>
                <a:ext uri="{FF2B5EF4-FFF2-40B4-BE49-F238E27FC236}">
                  <a16:creationId xmlns:a16="http://schemas.microsoft.com/office/drawing/2014/main" id="{221E2790-47DE-4EF7-8B80-19CB4D5D9A3B}"/>
                </a:ext>
              </a:extLst>
            </p:cNvPr>
            <p:cNvSpPr txBox="1">
              <a:spLocks noChangeArrowheads="1"/>
            </p:cNvSpPr>
            <p:nvPr>
              <p:custDataLst>
                <p:tags r:id="rId1"/>
              </p:custDataLst>
            </p:nvPr>
          </p:nvSpPr>
          <p:spPr bwMode="auto">
            <a:xfrm>
              <a:off x="1042988" y="1217613"/>
              <a:ext cx="1728787" cy="600075"/>
            </a:xfrm>
            <a:prstGeom prst="rect">
              <a:avLst/>
            </a:prstGeom>
            <a:solidFill>
              <a:srgbClr val="0087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7996" tIns="45712" rIns="17996" bIns="45712" anchor="ctr"/>
            <a:lstStyle>
              <a:lvl1pPr indent="180975">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buSzPct val="100000"/>
              </a:pPr>
              <a:r>
                <a:rPr lang="sk-SK" altLang="sk-SK" sz="1400" b="1" dirty="0" err="1">
                  <a:solidFill>
                    <a:srgbClr val="FFFFFF"/>
                  </a:solidFill>
                </a:rPr>
                <a:t>innogy</a:t>
              </a:r>
              <a:r>
                <a:rPr lang="sk-SK" altLang="sk-SK" sz="1400" dirty="0">
                  <a:solidFill>
                    <a:srgbClr val="FFFFFF"/>
                  </a:solidFill>
                </a:rPr>
                <a:t> </a:t>
              </a:r>
            </a:p>
          </p:txBody>
        </p:sp>
        <p:sp>
          <p:nvSpPr>
            <p:cNvPr id="15" name="McK Footnote">
              <a:extLst>
                <a:ext uri="{FF2B5EF4-FFF2-40B4-BE49-F238E27FC236}">
                  <a16:creationId xmlns:a16="http://schemas.microsoft.com/office/drawing/2014/main" id="{E4F8A1F8-1518-47F4-A517-94AAF4F505DE}"/>
                </a:ext>
              </a:extLst>
            </p:cNvPr>
            <p:cNvSpPr txBox="1">
              <a:spLocks noChangeArrowheads="1"/>
            </p:cNvSpPr>
            <p:nvPr>
              <p:custDataLst>
                <p:tags r:id="rId2"/>
              </p:custDataLst>
            </p:nvPr>
          </p:nvSpPr>
          <p:spPr bwMode="auto">
            <a:xfrm>
              <a:off x="1054100" y="2657475"/>
              <a:ext cx="3851385" cy="646113"/>
            </a:xfrm>
            <a:prstGeom prst="rect">
              <a:avLst/>
            </a:prstGeom>
            <a:solidFill>
              <a:srgbClr val="F59B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7996" tIns="45712" rIns="17996" bIns="45712" anchor="ctr"/>
            <a:lstStyle>
              <a:lvl1pPr indent="180975">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nSpc>
                  <a:spcPct val="85000"/>
                </a:lnSpc>
                <a:buSzPct val="100000"/>
              </a:pPr>
              <a:r>
                <a:rPr lang="sk-SK" altLang="sk-SK" sz="1400" dirty="0">
                  <a:solidFill>
                    <a:srgbClr val="FFFFFF"/>
                  </a:solidFill>
                </a:rPr>
                <a:t>Východoslovenská energetika Holding</a:t>
              </a:r>
            </a:p>
          </p:txBody>
        </p:sp>
        <p:sp>
          <p:nvSpPr>
            <p:cNvPr id="16" name="Rechteck 46">
              <a:extLst>
                <a:ext uri="{FF2B5EF4-FFF2-40B4-BE49-F238E27FC236}">
                  <a16:creationId xmlns:a16="http://schemas.microsoft.com/office/drawing/2014/main" id="{6385CACD-9BF1-4CC4-8339-CF5847C611B7}"/>
                </a:ext>
              </a:extLst>
            </p:cNvPr>
            <p:cNvSpPr>
              <a:spLocks/>
            </p:cNvSpPr>
            <p:nvPr/>
          </p:nvSpPr>
          <p:spPr bwMode="gray">
            <a:xfrm>
              <a:off x="1035050" y="1893888"/>
              <a:ext cx="2646097" cy="688975"/>
            </a:xfrm>
            <a:prstGeom prst="rect">
              <a:avLst/>
            </a:prstGeom>
            <a:solidFill>
              <a:srgbClr val="780A5F"/>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216000" tIns="201600" rIns="180000" bIns="230400"/>
            <a:lstStyle/>
            <a:p>
              <a:pPr>
                <a:buSzPct val="100000"/>
                <a:defRPr/>
              </a:pPr>
              <a:r>
                <a:rPr lang="sk-SK" sz="1400" b="1" dirty="0">
                  <a:solidFill>
                    <a:srgbClr val="FFFFFF"/>
                  </a:solidFill>
                </a:rPr>
                <a:t>innogy South East Europe</a:t>
              </a:r>
            </a:p>
          </p:txBody>
        </p:sp>
      </p:grpSp>
    </p:spTree>
  </p:cSld>
  <p:clrMapOvr>
    <a:masterClrMapping/>
  </p:clrMapOvr>
  <p:transition spd="med">
    <p:pull/>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Nadpis 8"/>
          <p:cNvSpPr>
            <a:spLocks noGrp="1"/>
          </p:cNvSpPr>
          <p:nvPr>
            <p:ph type="title"/>
          </p:nvPr>
        </p:nvSpPr>
        <p:spPr>
          <a:xfrm>
            <a:off x="426497" y="328260"/>
            <a:ext cx="7566565" cy="360099"/>
          </a:xfrm>
        </p:spPr>
        <p:txBody>
          <a:bodyPr/>
          <a:lstStyle/>
          <a:p>
            <a:r>
              <a:rPr lang="sk-SK" altLang="sk-SK" dirty="0">
                <a:solidFill>
                  <a:schemeClr val="accent4"/>
                </a:solidFill>
                <a:cs typeface="+mj-cs"/>
              </a:rPr>
              <a:t>Elektroinštalácia</a:t>
            </a:r>
            <a:r>
              <a:rPr lang="sk-SK" altLang="sk-SK" sz="2400" dirty="0"/>
              <a:t> </a:t>
            </a:r>
            <a:r>
              <a:rPr lang="sk-SK" altLang="sk-SK" dirty="0">
                <a:solidFill>
                  <a:schemeClr val="accent4"/>
                </a:solidFill>
                <a:cs typeface="+mj-cs"/>
              </a:rPr>
              <a:t>v sociálnych bytových domoch</a:t>
            </a:r>
          </a:p>
        </p:txBody>
      </p:sp>
      <p:graphicFrame>
        <p:nvGraphicFramePr>
          <p:cNvPr id="2" name="Zástupný objekt pre obsah 1">
            <a:extLst>
              <a:ext uri="{FF2B5EF4-FFF2-40B4-BE49-F238E27FC236}">
                <a16:creationId xmlns:a16="http://schemas.microsoft.com/office/drawing/2014/main" id="{EC7D363D-E020-4289-84CF-6800FDA02BB4}"/>
              </a:ext>
            </a:extLst>
          </p:cNvPr>
          <p:cNvGraphicFramePr>
            <a:graphicFrameLocks noGrp="1"/>
          </p:cNvGraphicFramePr>
          <p:nvPr>
            <p:ph idx="1"/>
            <p:extLst/>
          </p:nvPr>
        </p:nvGraphicFramePr>
        <p:xfrm>
          <a:off x="440393" y="992225"/>
          <a:ext cx="8064896" cy="367263"/>
        </p:xfrm>
        <a:graphic>
          <a:graphicData uri="http://schemas.openxmlformats.org/drawingml/2006/table">
            <a:tbl>
              <a:tblPr firstRow="1" bandRow="1">
                <a:tableStyleId>{F5AB1C69-6EDB-4FF4-983F-18BD219EF322}</a:tableStyleId>
              </a:tblPr>
              <a:tblGrid>
                <a:gridCol w="2016224">
                  <a:extLst>
                    <a:ext uri="{9D8B030D-6E8A-4147-A177-3AD203B41FA5}">
                      <a16:colId xmlns:a16="http://schemas.microsoft.com/office/drawing/2014/main" val="585412828"/>
                    </a:ext>
                  </a:extLst>
                </a:gridCol>
                <a:gridCol w="2016224">
                  <a:extLst>
                    <a:ext uri="{9D8B030D-6E8A-4147-A177-3AD203B41FA5}">
                      <a16:colId xmlns:a16="http://schemas.microsoft.com/office/drawing/2014/main" val="2753134490"/>
                    </a:ext>
                  </a:extLst>
                </a:gridCol>
                <a:gridCol w="2016224">
                  <a:extLst>
                    <a:ext uri="{9D8B030D-6E8A-4147-A177-3AD203B41FA5}">
                      <a16:colId xmlns:a16="http://schemas.microsoft.com/office/drawing/2014/main" val="3973657338"/>
                    </a:ext>
                  </a:extLst>
                </a:gridCol>
                <a:gridCol w="2016224">
                  <a:extLst>
                    <a:ext uri="{9D8B030D-6E8A-4147-A177-3AD203B41FA5}">
                      <a16:colId xmlns:a16="http://schemas.microsoft.com/office/drawing/2014/main" val="1606430596"/>
                    </a:ext>
                  </a:extLst>
                </a:gridCol>
              </a:tblGrid>
              <a:tr h="3672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k-SK" sz="1600" dirty="0"/>
                        <a:t>Nová bytovka</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k-SK" sz="1600" dirty="0"/>
                        <a:t>Po 1 roku</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k-SK" sz="1600" dirty="0"/>
                        <a:t>Po 2 rokoch</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k-SK" sz="1600" dirty="0"/>
                        <a:t>Po 3 a viac rokoch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2388241598"/>
                  </a:ext>
                </a:extLst>
              </a:tr>
            </a:tbl>
          </a:graphicData>
        </a:graphic>
      </p:graphicFrame>
      <p:graphicFrame>
        <p:nvGraphicFramePr>
          <p:cNvPr id="11" name="Diagram 10"/>
          <p:cNvGraphicFramePr/>
          <p:nvPr>
            <p:extLst>
              <p:ext uri="{D42A27DB-BD31-4B8C-83A1-F6EECF244321}">
                <p14:modId xmlns:p14="http://schemas.microsoft.com/office/powerpoint/2010/main" val="310362697"/>
              </p:ext>
            </p:extLst>
          </p:nvPr>
        </p:nvGraphicFramePr>
        <p:xfrm>
          <a:off x="125212" y="1199613"/>
          <a:ext cx="8695259" cy="51822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Zástupný objekt pre pätu 2"/>
          <p:cNvSpPr>
            <a:spLocks noGrp="1"/>
          </p:cNvSpPr>
          <p:nvPr>
            <p:ph type="ftr" sz="quarter" idx="11"/>
          </p:nvPr>
        </p:nvSpPr>
        <p:spPr>
          <a:xfrm>
            <a:off x="426498" y="6343412"/>
            <a:ext cx="7385862" cy="476726"/>
          </a:xfrm>
          <a:prstGeom prst="roundRect">
            <a:avLst/>
          </a:prstGeom>
          <a:solidFill>
            <a:schemeClr val="accent3"/>
          </a:solidFill>
        </p:spPr>
        <p:style>
          <a:lnRef idx="2">
            <a:schemeClr val="accent3"/>
          </a:lnRef>
          <a:fillRef idx="1">
            <a:schemeClr val="lt1"/>
          </a:fillRef>
          <a:effectRef idx="0">
            <a:schemeClr val="accent3"/>
          </a:effectRef>
          <a:fontRef idx="minor">
            <a:schemeClr val="dk1"/>
          </a:fontRef>
        </p:style>
        <p:txBody>
          <a:bodyPr/>
          <a:lstStyle/>
          <a:p>
            <a:pPr algn="ctr">
              <a:defRPr/>
            </a:pPr>
            <a:r>
              <a:rPr lang="sk-SK" sz="1400" dirty="0">
                <a:solidFill>
                  <a:schemeClr val="bg1"/>
                </a:solidFill>
              </a:rPr>
              <a:t>Potreba rekonštrukcie elektroinštalácie z dôvodu vandalizmu, poškodzovania elektroinštalácie </a:t>
            </a:r>
            <a:br>
              <a:rPr lang="sk-SK" sz="1400" dirty="0">
                <a:solidFill>
                  <a:schemeClr val="bg1"/>
                </a:solidFill>
              </a:rPr>
            </a:br>
            <a:r>
              <a:rPr lang="sk-SK" sz="1400" dirty="0">
                <a:solidFill>
                  <a:schemeClr val="bg1"/>
                </a:solidFill>
              </a:rPr>
              <a:t>a stanovenia nových technických podmienok pre  pripojenia bytov.  </a:t>
            </a:r>
            <a:endParaRPr lang="de-DE" sz="1400" dirty="0">
              <a:solidFill>
                <a:schemeClr val="bg1"/>
              </a:solidFill>
            </a:endParaRPr>
          </a:p>
        </p:txBody>
      </p:sp>
      <p:sp>
        <p:nvSpPr>
          <p:cNvPr id="5" name="Zástupný objekt pre číslo snímky 4"/>
          <p:cNvSpPr>
            <a:spLocks noGrp="1"/>
          </p:cNvSpPr>
          <p:nvPr>
            <p:ph type="sldNum" sz="quarter" idx="12"/>
          </p:nvPr>
        </p:nvSpPr>
        <p:spPr/>
        <p:txBody>
          <a:bodyPr/>
          <a:lstStyle/>
          <a:p>
            <a:pPr>
              <a:defRPr/>
            </a:pPr>
            <a:fld id="{3262195E-3F2A-4BA2-BA64-DB709A4E2917}" type="slidenum">
              <a:rPr lang="de-DE"/>
              <a:pPr>
                <a:defRPr/>
              </a:pPr>
              <a:t>2</a:t>
            </a:fld>
            <a:endParaRPr lang="de-DE" dirty="0"/>
          </a:p>
        </p:txBody>
      </p:sp>
    </p:spTree>
    <p:extLst>
      <p:ext uri="{BB962C8B-B14F-4D97-AF65-F5344CB8AC3E}">
        <p14:creationId xmlns:p14="http://schemas.microsoft.com/office/powerpoint/2010/main" val="3767823979"/>
      </p:ext>
    </p:extLst>
  </p:cSld>
  <p:clrMapOvr>
    <a:masterClrMapping/>
  </p:clrMapOvr>
  <p:transition spd="med">
    <p:pull/>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Zástupný objekt pre text 9">
            <a:extLst>
              <a:ext uri="{FF2B5EF4-FFF2-40B4-BE49-F238E27FC236}">
                <a16:creationId xmlns:a16="http://schemas.microsoft.com/office/drawing/2014/main" id="{733CFB7A-1944-4BDE-9074-1837114B3414}"/>
              </a:ext>
            </a:extLst>
          </p:cNvPr>
          <p:cNvSpPr>
            <a:spLocks noGrp="1"/>
          </p:cNvSpPr>
          <p:nvPr>
            <p:ph type="body" sz="quarter" idx="14"/>
          </p:nvPr>
        </p:nvSpPr>
        <p:spPr/>
        <p:txBody>
          <a:bodyPr/>
          <a:lstStyle/>
          <a:p>
            <a:endParaRPr lang="sk-SK" dirty="0"/>
          </a:p>
        </p:txBody>
      </p:sp>
      <p:sp>
        <p:nvSpPr>
          <p:cNvPr id="7" name="Zástupný objekt pre pätu 6">
            <a:extLst>
              <a:ext uri="{FF2B5EF4-FFF2-40B4-BE49-F238E27FC236}">
                <a16:creationId xmlns:a16="http://schemas.microsoft.com/office/drawing/2014/main" id="{4D87440D-6158-44F9-95F8-9BB448669B02}"/>
              </a:ext>
            </a:extLst>
          </p:cNvPr>
          <p:cNvSpPr>
            <a:spLocks noGrp="1"/>
          </p:cNvSpPr>
          <p:nvPr>
            <p:ph type="ftr" sz="quarter" idx="16"/>
          </p:nvPr>
        </p:nvSpPr>
        <p:spPr/>
        <p:txBody>
          <a:bodyPr/>
          <a:lstStyle/>
          <a:p>
            <a:pPr>
              <a:defRPr/>
            </a:pPr>
            <a:endParaRPr lang="en-GB"/>
          </a:p>
        </p:txBody>
      </p:sp>
      <p:sp>
        <p:nvSpPr>
          <p:cNvPr id="8" name="Zástupný objekt pre číslo snímky 7">
            <a:extLst>
              <a:ext uri="{FF2B5EF4-FFF2-40B4-BE49-F238E27FC236}">
                <a16:creationId xmlns:a16="http://schemas.microsoft.com/office/drawing/2014/main" id="{C4700FA9-8A49-409C-AECF-9EB6B5F13BC0}"/>
              </a:ext>
            </a:extLst>
          </p:cNvPr>
          <p:cNvSpPr>
            <a:spLocks noGrp="1"/>
          </p:cNvSpPr>
          <p:nvPr>
            <p:ph type="sldNum" sz="quarter" idx="17"/>
          </p:nvPr>
        </p:nvSpPr>
        <p:spPr/>
        <p:txBody>
          <a:bodyPr/>
          <a:lstStyle/>
          <a:p>
            <a:pPr>
              <a:defRPr/>
            </a:pPr>
            <a:fld id="{74574A02-40DB-40AB-8789-21A7797F1A5A}" type="slidenum">
              <a:rPr lang="en-GB" smtClean="0"/>
              <a:pPr>
                <a:defRPr/>
              </a:pPr>
              <a:t>3</a:t>
            </a:fld>
            <a:endParaRPr lang="en-GB"/>
          </a:p>
        </p:txBody>
      </p:sp>
      <p:pic>
        <p:nvPicPr>
          <p:cNvPr id="14" name="Obrázok 13">
            <a:extLst>
              <a:ext uri="{FF2B5EF4-FFF2-40B4-BE49-F238E27FC236}">
                <a16:creationId xmlns:a16="http://schemas.microsoft.com/office/drawing/2014/main" id="{A2103FDB-C852-4B57-96AC-C50C645B2C4D}"/>
              </a:ext>
            </a:extLst>
          </p:cNvPr>
          <p:cNvPicPr>
            <a:picLocks noChangeAspect="1"/>
          </p:cNvPicPr>
          <p:nvPr/>
        </p:nvPicPr>
        <p:blipFill>
          <a:blip r:embed="rId3"/>
          <a:stretch>
            <a:fillRect/>
          </a:stretch>
        </p:blipFill>
        <p:spPr>
          <a:xfrm>
            <a:off x="4648377" y="187199"/>
            <a:ext cx="4406928" cy="324179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 name="Obrázok 2">
            <a:extLst>
              <a:ext uri="{FF2B5EF4-FFF2-40B4-BE49-F238E27FC236}">
                <a16:creationId xmlns:a16="http://schemas.microsoft.com/office/drawing/2014/main" id="{5C54C122-7019-4B9D-B557-310A9988595A}"/>
              </a:ext>
            </a:extLst>
          </p:cNvPr>
          <p:cNvPicPr>
            <a:picLocks noChangeAspect="1"/>
          </p:cNvPicPr>
          <p:nvPr/>
        </p:nvPicPr>
        <p:blipFill>
          <a:blip r:embed="rId4"/>
          <a:stretch>
            <a:fillRect/>
          </a:stretch>
        </p:blipFill>
        <p:spPr bwMode="auto">
          <a:xfrm>
            <a:off x="188540" y="187201"/>
            <a:ext cx="4192252" cy="324179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16" name="Obrázok 15" descr="C:\Users\veresova_jarmila\AppData\Local\Microsoft\Windows\Temporary Internet Files\Content.Word\Foto 6.jpg">
            <a:extLst>
              <a:ext uri="{FF2B5EF4-FFF2-40B4-BE49-F238E27FC236}">
                <a16:creationId xmlns:a16="http://schemas.microsoft.com/office/drawing/2014/main" id="{3F50A6BA-D82E-44F7-8CAC-F45D0F8771A6}"/>
              </a:ext>
            </a:extLst>
          </p:cNvPr>
          <p:cNvPicPr/>
          <p:nvPr/>
        </p:nvPicPr>
        <p:blipFill>
          <a:blip r:embed="rId5" cstate="print"/>
          <a:srcRect/>
          <a:stretch>
            <a:fillRect/>
          </a:stretch>
        </p:blipFill>
        <p:spPr bwMode="auto">
          <a:xfrm>
            <a:off x="4674625" y="3571192"/>
            <a:ext cx="4406928" cy="300993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 name="Obrázok 5">
            <a:extLst>
              <a:ext uri="{FF2B5EF4-FFF2-40B4-BE49-F238E27FC236}">
                <a16:creationId xmlns:a16="http://schemas.microsoft.com/office/drawing/2014/main" id="{421B8769-35FF-4F29-9DF4-33BE6D871D1A}"/>
              </a:ext>
            </a:extLst>
          </p:cNvPr>
          <p:cNvPicPr>
            <a:picLocks noChangeAspect="1"/>
          </p:cNvPicPr>
          <p:nvPr/>
        </p:nvPicPr>
        <p:blipFill>
          <a:blip r:embed="rId6"/>
          <a:stretch>
            <a:fillRect/>
          </a:stretch>
        </p:blipFill>
        <p:spPr>
          <a:xfrm>
            <a:off x="188540" y="3552989"/>
            <a:ext cx="4208272" cy="300993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7" name="Obdĺžnik 16">
            <a:extLst>
              <a:ext uri="{FF2B5EF4-FFF2-40B4-BE49-F238E27FC236}">
                <a16:creationId xmlns:a16="http://schemas.microsoft.com/office/drawing/2014/main" id="{A8D9E763-C4A3-4BA1-8395-606AC5713568}"/>
              </a:ext>
            </a:extLst>
          </p:cNvPr>
          <p:cNvSpPr/>
          <p:nvPr/>
        </p:nvSpPr>
        <p:spPr bwMode="gray">
          <a:xfrm>
            <a:off x="4860032" y="4221088"/>
            <a:ext cx="864096" cy="216024"/>
          </a:xfrm>
          <a:prstGeom prst="rect">
            <a:avLst/>
          </a:prstGeom>
          <a:solidFill>
            <a:schemeClr val="bg1"/>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t" anchorCtr="0" forceAA="0" compatLnSpc="1">
            <a:prstTxWarp prst="textNoShape">
              <a:avLst/>
            </a:prstTxWarp>
            <a:noAutofit/>
          </a:bodyPr>
          <a:lstStyle/>
          <a:p>
            <a:pPr marL="180000" indent="-180000" algn="ctr">
              <a:spcBef>
                <a:spcPts val="600"/>
              </a:spcBef>
              <a:buFont typeface="Arial" panose="020B0604020202020204" pitchFamily="34" charset="0"/>
              <a:buChar char="•"/>
            </a:pPr>
            <a:endParaRPr lang="sk-SK" sz="1400" dirty="0">
              <a:solidFill>
                <a:schemeClr val="bg1"/>
              </a:solidFill>
            </a:endParaRPr>
          </a:p>
        </p:txBody>
      </p:sp>
      <p:sp>
        <p:nvSpPr>
          <p:cNvPr id="12" name="Zaoblený obdĺžnik 6">
            <a:extLst>
              <a:ext uri="{FF2B5EF4-FFF2-40B4-BE49-F238E27FC236}">
                <a16:creationId xmlns:a16="http://schemas.microsoft.com/office/drawing/2014/main" id="{83D19F5A-AF65-419F-BD8B-376AC00B3278}"/>
              </a:ext>
            </a:extLst>
          </p:cNvPr>
          <p:cNvSpPr/>
          <p:nvPr/>
        </p:nvSpPr>
        <p:spPr bwMode="gray">
          <a:xfrm>
            <a:off x="2147844" y="5877272"/>
            <a:ext cx="4512388" cy="685649"/>
          </a:xfrm>
          <a:prstGeom prst="roundRect">
            <a:avLst/>
          </a:prstGeom>
          <a:ln/>
        </p:spPr>
        <p:style>
          <a:lnRef idx="3">
            <a:schemeClr val="lt1"/>
          </a:lnRef>
          <a:fillRef idx="1">
            <a:schemeClr val="accent4"/>
          </a:fillRef>
          <a:effectRef idx="1">
            <a:schemeClr val="accent4"/>
          </a:effectRef>
          <a:fontRef idx="minor">
            <a:schemeClr val="lt1"/>
          </a:fontRef>
        </p:style>
        <p:txBody>
          <a:bodyPr lIns="36000" tIns="36000" rIns="36000" bIns="36000"/>
          <a:lstStyle/>
          <a:p>
            <a:pPr marL="180000" indent="-180000" algn="ctr">
              <a:spcBef>
                <a:spcPts val="600"/>
              </a:spcBef>
              <a:defRPr/>
            </a:pPr>
            <a:r>
              <a:rPr lang="sk-SK" sz="1600" b="1" dirty="0"/>
              <a:t>Prevádzkovateľ  má možnosť prerušiť distribúciu </a:t>
            </a:r>
            <a:br>
              <a:rPr lang="sk-SK" sz="1600" b="1" dirty="0"/>
            </a:br>
            <a:r>
              <a:rPr lang="sk-SK" sz="1600" b="1" dirty="0"/>
              <a:t>a sprísniť podmienky pripojenia </a:t>
            </a:r>
            <a:endParaRPr lang="sk-SK" sz="1600" dirty="0"/>
          </a:p>
        </p:txBody>
      </p:sp>
      <p:sp>
        <p:nvSpPr>
          <p:cNvPr id="15" name="Zaoblený obdĺžnik 6">
            <a:extLst>
              <a:ext uri="{FF2B5EF4-FFF2-40B4-BE49-F238E27FC236}">
                <a16:creationId xmlns:a16="http://schemas.microsoft.com/office/drawing/2014/main" id="{8CE8D772-7279-48D0-A989-AB49F0DA3423}"/>
              </a:ext>
            </a:extLst>
          </p:cNvPr>
          <p:cNvSpPr/>
          <p:nvPr/>
        </p:nvSpPr>
        <p:spPr bwMode="gray">
          <a:xfrm>
            <a:off x="1882697" y="3002563"/>
            <a:ext cx="5042682" cy="568490"/>
          </a:xfrm>
          <a:prstGeom prst="roundRect">
            <a:avLst/>
          </a:prstGeom>
          <a:ln/>
        </p:spPr>
        <p:style>
          <a:lnRef idx="3">
            <a:schemeClr val="lt1"/>
          </a:lnRef>
          <a:fillRef idx="1">
            <a:schemeClr val="accent4"/>
          </a:fillRef>
          <a:effectRef idx="1">
            <a:schemeClr val="accent4"/>
          </a:effectRef>
          <a:fontRef idx="minor">
            <a:schemeClr val="lt1"/>
          </a:fontRef>
        </p:style>
        <p:txBody>
          <a:bodyPr lIns="36000" tIns="36000" rIns="36000" bIns="36000"/>
          <a:lstStyle/>
          <a:p>
            <a:pPr marL="180000" indent="-180000" algn="ctr">
              <a:spcBef>
                <a:spcPts val="600"/>
              </a:spcBef>
              <a:defRPr/>
            </a:pPr>
            <a:r>
              <a:rPr lang="sk-SK" sz="1400" b="1" dirty="0"/>
              <a:t>Vlastník je povinný umožniť dodávku elektriny odberateľovi </a:t>
            </a:r>
            <a:br>
              <a:rPr lang="sk-SK" sz="1400" b="1" dirty="0"/>
            </a:br>
            <a:r>
              <a:rPr lang="sk-SK" sz="1400" b="1" dirty="0"/>
              <a:t>v domácnosti a zodpovedá  za bezpečnú prevádzku</a:t>
            </a:r>
          </a:p>
        </p:txBody>
      </p:sp>
    </p:spTree>
    <p:extLst>
      <p:ext uri="{BB962C8B-B14F-4D97-AF65-F5344CB8AC3E}">
        <p14:creationId xmlns:p14="http://schemas.microsoft.com/office/powerpoint/2010/main" val="2824991621"/>
      </p:ext>
    </p:extLst>
  </p:cSld>
  <p:clrMapOvr>
    <a:masterClrMapping/>
  </p:clrMapOvr>
  <p:transition spd="med">
    <p:pull/>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el 1"/>
          <p:cNvSpPr>
            <a:spLocks noGrp="1"/>
          </p:cNvSpPr>
          <p:nvPr>
            <p:ph type="title"/>
          </p:nvPr>
        </p:nvSpPr>
        <p:spPr>
          <a:xfrm>
            <a:off x="576263" y="515709"/>
            <a:ext cx="7092081" cy="587559"/>
          </a:xfrm>
        </p:spPr>
        <p:txBody>
          <a:bodyPr/>
          <a:lstStyle/>
          <a:p>
            <a:pPr eaLnBrk="1" hangingPunct="1">
              <a:defRPr/>
            </a:pPr>
            <a:r>
              <a:rPr lang="sk-SK" dirty="0">
                <a:solidFill>
                  <a:schemeClr val="accent4"/>
                </a:solidFill>
              </a:rPr>
              <a:t>Predplatená elektrina</a:t>
            </a:r>
            <a:br>
              <a:rPr lang="sk-SK" dirty="0">
                <a:solidFill>
                  <a:schemeClr val="accent4"/>
                </a:solidFill>
              </a:rPr>
            </a:br>
            <a:br>
              <a:rPr lang="sk-SK" dirty="0">
                <a:solidFill>
                  <a:schemeClr val="accent3"/>
                </a:solidFill>
              </a:rPr>
            </a:br>
            <a:endParaRPr lang="sk-SK" altLang="sk-SK" dirty="0"/>
          </a:p>
        </p:txBody>
      </p:sp>
      <p:sp>
        <p:nvSpPr>
          <p:cNvPr id="47107" name="Textplatzhalter 9"/>
          <p:cNvSpPr>
            <a:spLocks noGrp="1"/>
          </p:cNvSpPr>
          <p:nvPr>
            <p:ph type="body" sz="quarter" idx="14"/>
          </p:nvPr>
        </p:nvSpPr>
        <p:spPr>
          <a:xfrm>
            <a:off x="576263" y="187325"/>
            <a:ext cx="7416800" cy="215900"/>
          </a:xfrm>
        </p:spPr>
        <p:txBody>
          <a:bodyPr/>
          <a:lstStyle/>
          <a:p>
            <a:pPr eaLnBrk="1" hangingPunct="1">
              <a:spcBef>
                <a:spcPct val="0"/>
              </a:spcBef>
            </a:pPr>
            <a:endParaRPr lang="sk-SK" altLang="sk-SK"/>
          </a:p>
        </p:txBody>
      </p:sp>
      <p:sp>
        <p:nvSpPr>
          <p:cNvPr id="14" name="Rechteck 13"/>
          <p:cNvSpPr>
            <a:spLocks/>
          </p:cNvSpPr>
          <p:nvPr/>
        </p:nvSpPr>
        <p:spPr bwMode="gray">
          <a:xfrm>
            <a:off x="417032" y="1005778"/>
            <a:ext cx="4063230" cy="1459543"/>
          </a:xfrm>
          <a:prstGeom prst="rect">
            <a:avLst/>
          </a:prstGeom>
          <a:solidFill>
            <a:srgbClr val="C81E82"/>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216000" tIns="201600" rIns="216000" bIns="230400"/>
          <a:lstStyle/>
          <a:p>
            <a:pPr eaLnBrk="1" fontAlgn="auto" hangingPunct="1">
              <a:spcBef>
                <a:spcPts val="0"/>
              </a:spcBef>
              <a:spcAft>
                <a:spcPts val="0"/>
              </a:spcAft>
              <a:defRPr/>
            </a:pPr>
            <a:r>
              <a:rPr lang="sk-SK" sz="1500" b="1" dirty="0">
                <a:solidFill>
                  <a:prstClr val="white"/>
                </a:solidFill>
              </a:rPr>
              <a:t>„Balík“ pre samosprávu </a:t>
            </a:r>
          </a:p>
          <a:p>
            <a:pPr marL="285750" indent="-285750" eaLnBrk="1" fontAlgn="auto" hangingPunct="1">
              <a:spcBef>
                <a:spcPts val="0"/>
              </a:spcBef>
              <a:spcAft>
                <a:spcPts val="0"/>
              </a:spcAft>
              <a:buFont typeface="Wingdings" panose="05000000000000000000" pitchFamily="2" charset="2"/>
              <a:buChar char="Ø"/>
              <a:defRPr/>
            </a:pPr>
            <a:r>
              <a:rPr lang="sk-SK" sz="1500" dirty="0">
                <a:solidFill>
                  <a:prstClr val="white"/>
                </a:solidFill>
              </a:rPr>
              <a:t>lokálne riešenie v bytových domoch </a:t>
            </a:r>
          </a:p>
          <a:p>
            <a:pPr marL="285750" indent="-285750" eaLnBrk="1" fontAlgn="auto" hangingPunct="1">
              <a:spcBef>
                <a:spcPts val="0"/>
              </a:spcBef>
              <a:spcAft>
                <a:spcPts val="0"/>
              </a:spcAft>
              <a:buFont typeface="Wingdings" panose="05000000000000000000" pitchFamily="2" charset="2"/>
              <a:buChar char="Ø"/>
              <a:defRPr/>
            </a:pPr>
            <a:r>
              <a:rPr lang="sk-SK" sz="1500" dirty="0">
                <a:solidFill>
                  <a:prstClr val="white"/>
                </a:solidFill>
              </a:rPr>
              <a:t>predpoklad plošného zavedenia produktu</a:t>
            </a:r>
          </a:p>
          <a:p>
            <a:pPr marL="285750" indent="-285750" eaLnBrk="1" fontAlgn="auto" hangingPunct="1">
              <a:spcBef>
                <a:spcPts val="0"/>
              </a:spcBef>
              <a:spcAft>
                <a:spcPts val="0"/>
              </a:spcAft>
              <a:buFont typeface="Wingdings" panose="05000000000000000000" pitchFamily="2" charset="2"/>
              <a:buChar char="Ø"/>
              <a:defRPr/>
            </a:pPr>
            <a:r>
              <a:rPr lang="sk-SK" sz="1500" dirty="0">
                <a:solidFill>
                  <a:prstClr val="white"/>
                </a:solidFill>
              </a:rPr>
              <a:t>vhodný produkt pre rizikové lokality</a:t>
            </a:r>
          </a:p>
        </p:txBody>
      </p:sp>
      <p:sp>
        <p:nvSpPr>
          <p:cNvPr id="16" name="Rechteck 13"/>
          <p:cNvSpPr>
            <a:spLocks/>
          </p:cNvSpPr>
          <p:nvPr/>
        </p:nvSpPr>
        <p:spPr bwMode="gray">
          <a:xfrm>
            <a:off x="4586290" y="986124"/>
            <a:ext cx="3744912" cy="1677987"/>
          </a:xfrm>
          <a:prstGeom prst="rect">
            <a:avLst/>
          </a:prstGeom>
          <a:solidFill>
            <a:schemeClr val="accent4">
              <a:lumMod val="75000"/>
            </a:schemeClr>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216000" tIns="201600" rIns="216000" bIns="230400"/>
          <a:lstStyle/>
          <a:p>
            <a:pPr eaLnBrk="1" fontAlgn="auto" hangingPunct="1">
              <a:spcBef>
                <a:spcPts val="0"/>
              </a:spcBef>
              <a:spcAft>
                <a:spcPts val="0"/>
              </a:spcAft>
              <a:defRPr/>
            </a:pPr>
            <a:r>
              <a:rPr lang="sk-SK" sz="1500" b="1" dirty="0">
                <a:solidFill>
                  <a:prstClr val="white"/>
                </a:solidFill>
              </a:rPr>
              <a:t>Rizikové lokality </a:t>
            </a:r>
          </a:p>
          <a:p>
            <a:pPr marL="285750" indent="-285750" eaLnBrk="1" fontAlgn="auto" hangingPunct="1">
              <a:spcBef>
                <a:spcPts val="0"/>
              </a:spcBef>
              <a:spcAft>
                <a:spcPts val="0"/>
              </a:spcAft>
              <a:buFont typeface="Wingdings" panose="05000000000000000000" pitchFamily="2" charset="2"/>
              <a:buChar char="Ø"/>
              <a:defRPr/>
            </a:pPr>
            <a:r>
              <a:rPr lang="sk-SK" sz="1500" dirty="0">
                <a:solidFill>
                  <a:prstClr val="white"/>
                </a:solidFill>
              </a:rPr>
              <a:t>oblasti s nízkou platobnou disciplínou</a:t>
            </a:r>
          </a:p>
          <a:p>
            <a:pPr marL="285750" indent="-285750" eaLnBrk="1" fontAlgn="auto" hangingPunct="1">
              <a:spcBef>
                <a:spcPts val="0"/>
              </a:spcBef>
              <a:spcAft>
                <a:spcPts val="0"/>
              </a:spcAft>
              <a:buFont typeface="Wingdings" panose="05000000000000000000" pitchFamily="2" charset="2"/>
              <a:buChar char="Ø"/>
              <a:defRPr/>
            </a:pPr>
            <a:r>
              <a:rPr lang="sk-SK" sz="1500" dirty="0">
                <a:solidFill>
                  <a:prstClr val="white"/>
                </a:solidFill>
              </a:rPr>
              <a:t>sociálne slabšie vrstvy obyvateľstvo</a:t>
            </a:r>
          </a:p>
          <a:p>
            <a:pPr marL="285750" indent="-285750" eaLnBrk="1" fontAlgn="auto" hangingPunct="1">
              <a:spcBef>
                <a:spcPts val="0"/>
              </a:spcBef>
              <a:spcAft>
                <a:spcPts val="0"/>
              </a:spcAft>
              <a:buFont typeface="Wingdings" panose="05000000000000000000" pitchFamily="2" charset="2"/>
              <a:buChar char="Ø"/>
              <a:defRPr/>
            </a:pPr>
            <a:r>
              <a:rPr lang="sk-SK" sz="1500" dirty="0">
                <a:solidFill>
                  <a:prstClr val="white"/>
                </a:solidFill>
              </a:rPr>
              <a:t>prevažne rómske obyvateľstvo </a:t>
            </a:r>
          </a:p>
          <a:p>
            <a:pPr marL="285750" indent="-285750" eaLnBrk="1" fontAlgn="auto" hangingPunct="1">
              <a:spcBef>
                <a:spcPts val="0"/>
              </a:spcBef>
              <a:spcAft>
                <a:spcPts val="0"/>
              </a:spcAft>
              <a:buFont typeface="Wingdings" panose="05000000000000000000" pitchFamily="2" charset="2"/>
              <a:buChar char="Ø"/>
              <a:defRPr/>
            </a:pPr>
            <a:r>
              <a:rPr lang="sk-SK" sz="1500" dirty="0">
                <a:solidFill>
                  <a:prstClr val="white"/>
                </a:solidFill>
              </a:rPr>
              <a:t>vysoký rozsah neoprávnených odberov</a:t>
            </a:r>
          </a:p>
          <a:p>
            <a:pPr marL="285750" indent="-285750" eaLnBrk="1" fontAlgn="auto" hangingPunct="1">
              <a:spcBef>
                <a:spcPts val="0"/>
              </a:spcBef>
              <a:spcAft>
                <a:spcPts val="0"/>
              </a:spcAft>
              <a:buFont typeface="Wingdings" panose="05000000000000000000" pitchFamily="2" charset="2"/>
              <a:buChar char="Ø"/>
              <a:defRPr/>
            </a:pPr>
            <a:r>
              <a:rPr lang="sk-SK" sz="1500" dirty="0">
                <a:solidFill>
                  <a:prstClr val="white"/>
                </a:solidFill>
              </a:rPr>
              <a:t>vysoké straty v distribúcii</a:t>
            </a:r>
            <a:br>
              <a:rPr lang="sk-SK" sz="1500" dirty="0">
                <a:solidFill>
                  <a:prstClr val="white"/>
                </a:solidFill>
              </a:rPr>
            </a:br>
            <a:endParaRPr lang="sk-SK" sz="1500" dirty="0">
              <a:solidFill>
                <a:prstClr val="white"/>
              </a:solidFill>
            </a:endParaRPr>
          </a:p>
        </p:txBody>
      </p:sp>
      <p:sp>
        <p:nvSpPr>
          <p:cNvPr id="3" name="Zástupný objekt pre číslo snímky 2"/>
          <p:cNvSpPr>
            <a:spLocks noGrp="1"/>
          </p:cNvSpPr>
          <p:nvPr>
            <p:ph type="sldNum" sz="quarter" idx="17"/>
          </p:nvPr>
        </p:nvSpPr>
        <p:spPr/>
        <p:txBody>
          <a:bodyPr/>
          <a:lstStyle/>
          <a:p>
            <a:pPr>
              <a:defRPr/>
            </a:pPr>
            <a:fld id="{B3D6182D-5FA4-4A49-ABC9-959E187B3A0E}" type="slidenum">
              <a:rPr lang="en-GB" smtClean="0"/>
              <a:pPr>
                <a:defRPr/>
              </a:pPr>
              <a:t>4</a:t>
            </a:fld>
            <a:endParaRPr lang="en-GB"/>
          </a:p>
        </p:txBody>
      </p:sp>
      <p:sp>
        <p:nvSpPr>
          <p:cNvPr id="4" name="Obdĺžnik 3">
            <a:extLst>
              <a:ext uri="{FF2B5EF4-FFF2-40B4-BE49-F238E27FC236}">
                <a16:creationId xmlns:a16="http://schemas.microsoft.com/office/drawing/2014/main" id="{007CA9B7-2D21-41A4-9843-6F34532D3EDC}"/>
              </a:ext>
            </a:extLst>
          </p:cNvPr>
          <p:cNvSpPr/>
          <p:nvPr/>
        </p:nvSpPr>
        <p:spPr bwMode="gray">
          <a:xfrm>
            <a:off x="827585" y="2743274"/>
            <a:ext cx="7503617" cy="1909862"/>
          </a:xfrm>
          <a:prstGeom prst="rect">
            <a:avLst/>
          </a:prstGeom>
          <a:solidFill>
            <a:srgbClr val="00875A"/>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r>
              <a:rPr lang="sk-SK" sz="1400" b="1" dirty="0"/>
              <a:t>Čo získa obec?</a:t>
            </a:r>
          </a:p>
          <a:p>
            <a:r>
              <a:rPr lang="sk-SK" sz="1400" dirty="0"/>
              <a:t>Udržateľný systém dodávky elektriny po dobu životnosti bytovky. Bezpečnú elektroinštaláciu. </a:t>
            </a:r>
          </a:p>
          <a:p>
            <a:r>
              <a:rPr lang="sk-SK" sz="1400" dirty="0"/>
              <a:t>Legálny prístup k elektrine pre všetkých nájomníkov. </a:t>
            </a:r>
            <a:br>
              <a:rPr lang="sk-SK" sz="1400" dirty="0"/>
            </a:br>
            <a:r>
              <a:rPr lang="sk-SK" sz="1400" dirty="0"/>
              <a:t>Minimalizuje možnosť krádeže elektriny a úžeru súvisiacu s elektrinou. </a:t>
            </a:r>
          </a:p>
          <a:p>
            <a:r>
              <a:rPr lang="sk-SK" sz="1400" dirty="0"/>
              <a:t>Platby za elektrinu a ostatné platby za nájom vopred, možnosť prerušenie distribúcie pri neplatení </a:t>
            </a:r>
            <a:br>
              <a:rPr lang="sk-SK" sz="1400" dirty="0"/>
            </a:br>
            <a:r>
              <a:rPr lang="sk-SK" sz="1400" dirty="0"/>
              <a:t>a obnovenie distribúcie v bytoch bez dodatočných nákladov. </a:t>
            </a:r>
            <a:br>
              <a:rPr lang="sk-SK" sz="1400" dirty="0"/>
            </a:br>
            <a:r>
              <a:rPr lang="sk-SK" sz="1400" dirty="0"/>
              <a:t>Minimalizuje riziko trestno-právnej zodpovednosti kvôli prevádzke nebezpečných zariadení. </a:t>
            </a:r>
            <a:endParaRPr lang="sk-SK" sz="1400" dirty="0">
              <a:solidFill>
                <a:prstClr val="white"/>
              </a:solidFill>
            </a:endParaRPr>
          </a:p>
          <a:p>
            <a:pPr algn="ctr">
              <a:spcBef>
                <a:spcPts val="600"/>
              </a:spcBef>
            </a:pPr>
            <a:endParaRPr lang="sk-SK" sz="1600" dirty="0">
              <a:solidFill>
                <a:schemeClr val="bg1"/>
              </a:solidFill>
            </a:endParaRPr>
          </a:p>
          <a:p>
            <a:pPr algn="ctr">
              <a:spcBef>
                <a:spcPts val="600"/>
              </a:spcBef>
            </a:pPr>
            <a:endParaRPr lang="sk-SK" sz="1600" b="1" dirty="0">
              <a:solidFill>
                <a:schemeClr val="bg1"/>
              </a:solidFill>
            </a:endParaRPr>
          </a:p>
        </p:txBody>
      </p:sp>
      <p:sp>
        <p:nvSpPr>
          <p:cNvPr id="17" name="Zástupný objekt pre text 10">
            <a:extLst>
              <a:ext uri="{FF2B5EF4-FFF2-40B4-BE49-F238E27FC236}">
                <a16:creationId xmlns:a16="http://schemas.microsoft.com/office/drawing/2014/main" id="{91E87CFA-DFB5-4321-85B6-8CD1FFC9FE70}"/>
              </a:ext>
            </a:extLst>
          </p:cNvPr>
          <p:cNvSpPr>
            <a:spLocks noGrp="1"/>
          </p:cNvSpPr>
          <p:nvPr>
            <p:ph type="body" sz="quarter" idx="15"/>
          </p:nvPr>
        </p:nvSpPr>
        <p:spPr>
          <a:xfrm>
            <a:off x="429769" y="4813543"/>
            <a:ext cx="7385067" cy="1528748"/>
          </a:xfrm>
          <a:solidFill>
            <a:schemeClr val="accent4"/>
          </a:solidFill>
          <a:ln>
            <a:noFill/>
          </a:ln>
        </p:spPr>
        <p:style>
          <a:lnRef idx="0">
            <a:scrgbClr r="0" g="0" b="0"/>
          </a:lnRef>
          <a:fillRef idx="0">
            <a:scrgbClr r="0" g="0" b="0"/>
          </a:fillRef>
          <a:effectRef idx="0">
            <a:scrgbClr r="0" g="0" b="0"/>
          </a:effectRef>
          <a:fontRef idx="minor">
            <a:schemeClr val="lt1"/>
          </a:fontRef>
        </p:style>
        <p:txBody>
          <a:bodyPr lIns="144000" tIns="144000" rIns="144000" bIns="144000"/>
          <a:lstStyle/>
          <a:p>
            <a:pPr marL="0" indent="0">
              <a:buNone/>
            </a:pPr>
            <a:r>
              <a:rPr lang="sk-SK" sz="1400" b="1" dirty="0">
                <a:solidFill>
                  <a:schemeClr val="bg1"/>
                </a:solidFill>
              </a:rPr>
              <a:t>Čo získa nájomník?</a:t>
            </a:r>
          </a:p>
          <a:p>
            <a:pPr marL="0" indent="0">
              <a:buNone/>
            </a:pPr>
            <a:r>
              <a:rPr lang="sk-SK" sz="1400" dirty="0">
                <a:solidFill>
                  <a:schemeClr val="bg1"/>
                </a:solidFill>
              </a:rPr>
              <a:t>Rýchlejší legálny prístup k elektrine bez dodatočných nákladov, </a:t>
            </a:r>
          </a:p>
          <a:p>
            <a:pPr marL="0" indent="0">
              <a:buNone/>
            </a:pPr>
            <a:r>
              <a:rPr lang="sk-SK" sz="1400" dirty="0">
                <a:solidFill>
                  <a:schemeClr val="bg1"/>
                </a:solidFill>
              </a:rPr>
              <a:t>výhodnú sadzbu, kontrolu nad nákladmi za elektrinu, nevzniknú mu veľké nedoplatky a je kratší čas bez elektriny v prípade nedoplatkov. </a:t>
            </a:r>
          </a:p>
          <a:p>
            <a:pPr marL="0" indent="0">
              <a:buNone/>
            </a:pPr>
            <a:r>
              <a:rPr lang="sk-SK" sz="1400" dirty="0">
                <a:solidFill>
                  <a:schemeClr val="bg1"/>
                </a:solidFill>
              </a:rPr>
              <a:t>Minimalizovanie rizika trestných činov v súvislosti s krádežou elektriny, minimalizovanie úžery.</a:t>
            </a:r>
          </a:p>
          <a:p>
            <a:endParaRPr lang="sk-SK" dirty="0">
              <a:solidFill>
                <a:schemeClr val="bg1"/>
              </a:solidFill>
            </a:endParaRPr>
          </a:p>
        </p:txBody>
      </p:sp>
    </p:spTree>
    <p:extLst>
      <p:ext uri="{BB962C8B-B14F-4D97-AF65-F5344CB8AC3E}">
        <p14:creationId xmlns:p14="http://schemas.microsoft.com/office/powerpoint/2010/main" val="884298964"/>
      </p:ext>
    </p:extLst>
  </p:cSld>
  <p:clrMapOvr>
    <a:masterClrMapping/>
  </p:clrMapOvr>
  <p:transition spd="med">
    <p:pull/>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ástupný objekt pre pätu 5">
            <a:extLst>
              <a:ext uri="{FF2B5EF4-FFF2-40B4-BE49-F238E27FC236}">
                <a16:creationId xmlns:a16="http://schemas.microsoft.com/office/drawing/2014/main" id="{C7F94751-5EFC-440A-B7DD-0F1AA58DF267}"/>
              </a:ext>
            </a:extLst>
          </p:cNvPr>
          <p:cNvSpPr>
            <a:spLocks noGrp="1"/>
          </p:cNvSpPr>
          <p:nvPr>
            <p:ph type="ftr" sz="quarter" idx="16"/>
          </p:nvPr>
        </p:nvSpPr>
        <p:spPr>
          <a:xfrm>
            <a:off x="323528" y="5589241"/>
            <a:ext cx="7704855" cy="1247858"/>
          </a:xfrm>
        </p:spPr>
        <p:txBody>
          <a:bodyPr/>
          <a:lstStyle/>
          <a:p>
            <a:pPr>
              <a:defRPr/>
            </a:pPr>
            <a:r>
              <a:rPr lang="sk-SK" altLang="sk-SK" sz="1400" b="1" dirty="0">
                <a:solidFill>
                  <a:srgbClr val="143C8C"/>
                </a:solidFill>
              </a:rPr>
              <a:t>VSD poskytuje poradenstvo,  IMS elektromery, koncentrátor, IT aplikáciu a znáša zároveň náklady na zabezpečenie, montáž a údržbu týchto zariadení.</a:t>
            </a:r>
            <a:r>
              <a:rPr lang="sk-SK" sz="1400" b="1" kern="0" dirty="0">
                <a:solidFill>
                  <a:schemeClr val="bg1"/>
                </a:solidFill>
              </a:rPr>
              <a:t> </a:t>
            </a:r>
            <a:r>
              <a:rPr lang="sk-SK" sz="1400" b="1" kern="0" dirty="0">
                <a:solidFill>
                  <a:srgbClr val="143C8C"/>
                </a:solidFill>
              </a:rPr>
              <a:t>Poskytuje samospráve nástroj na výchovu nájomníkov </a:t>
            </a:r>
            <a:r>
              <a:rPr lang="sk-SK" sz="1400" kern="0" dirty="0">
                <a:solidFill>
                  <a:srgbClr val="143C8C"/>
                </a:solidFill>
              </a:rPr>
              <a:t>a na zlepšenie platobnej disciplíny aj za iné služby spojené s nájmom bytov.  </a:t>
            </a:r>
            <a:br>
              <a:rPr lang="sk-SK" sz="1400" kern="0" dirty="0">
                <a:solidFill>
                  <a:srgbClr val="143C8C"/>
                </a:solidFill>
              </a:rPr>
            </a:br>
            <a:r>
              <a:rPr lang="sk-SK" sz="1400" b="1" kern="0" dirty="0">
                <a:solidFill>
                  <a:srgbClr val="143C8C"/>
                </a:solidFill>
              </a:rPr>
              <a:t>Samospráva prevezme zodpovednosť za svojich nájomníkov. </a:t>
            </a:r>
          </a:p>
          <a:p>
            <a:pPr>
              <a:defRPr/>
            </a:pPr>
            <a:endParaRPr lang="sk-SK" sz="1800" dirty="0">
              <a:solidFill>
                <a:srgbClr val="143C8C"/>
              </a:solidFill>
            </a:endParaRPr>
          </a:p>
        </p:txBody>
      </p:sp>
      <p:graphicFrame>
        <p:nvGraphicFramePr>
          <p:cNvPr id="11" name="Diagram 10">
            <a:extLst>
              <a:ext uri="{FF2B5EF4-FFF2-40B4-BE49-F238E27FC236}">
                <a16:creationId xmlns:a16="http://schemas.microsoft.com/office/drawing/2014/main" id="{0A93D9DD-5430-4C1A-A831-8E7326474E5D}"/>
              </a:ext>
            </a:extLst>
          </p:cNvPr>
          <p:cNvGraphicFramePr/>
          <p:nvPr>
            <p:extLst>
              <p:ext uri="{D42A27DB-BD31-4B8C-83A1-F6EECF244321}">
                <p14:modId xmlns:p14="http://schemas.microsoft.com/office/powerpoint/2010/main" val="3383824024"/>
              </p:ext>
            </p:extLst>
          </p:nvPr>
        </p:nvGraphicFramePr>
        <p:xfrm>
          <a:off x="179511" y="404664"/>
          <a:ext cx="7848872" cy="50434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53355578"/>
      </p:ext>
    </p:extLst>
  </p:cSld>
  <p:clrMapOvr>
    <a:masterClrMapping/>
  </p:clrMapOvr>
  <p:transition spd="med">
    <p:pull/>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Zástupný objekt pre text 4"/>
          <p:cNvSpPr>
            <a:spLocks noGrp="1"/>
          </p:cNvSpPr>
          <p:nvPr>
            <p:ph type="body" sz="quarter" idx="14"/>
          </p:nvPr>
        </p:nvSpPr>
        <p:spPr>
          <a:xfrm>
            <a:off x="576263" y="187325"/>
            <a:ext cx="7416800" cy="215900"/>
          </a:xfrm>
        </p:spPr>
        <p:txBody>
          <a:bodyPr/>
          <a:lstStyle/>
          <a:p>
            <a:pPr>
              <a:spcBef>
                <a:spcPct val="0"/>
              </a:spcBef>
            </a:pPr>
            <a:endParaRPr lang="sk-SK" altLang="sk-SK"/>
          </a:p>
        </p:txBody>
      </p:sp>
      <p:sp>
        <p:nvSpPr>
          <p:cNvPr id="2" name="Zástupný objekt pre pätu 1"/>
          <p:cNvSpPr>
            <a:spLocks noGrp="1"/>
          </p:cNvSpPr>
          <p:nvPr>
            <p:ph type="ftr" sz="quarter" idx="16"/>
          </p:nvPr>
        </p:nvSpPr>
        <p:spPr/>
        <p:txBody>
          <a:bodyPr/>
          <a:lstStyle/>
          <a:p>
            <a:pPr>
              <a:defRPr/>
            </a:pPr>
            <a:endParaRPr lang="en-GB"/>
          </a:p>
        </p:txBody>
      </p:sp>
      <p:sp>
        <p:nvSpPr>
          <p:cNvPr id="6" name="Zástupný objekt pre číslo snímky 5"/>
          <p:cNvSpPr>
            <a:spLocks noGrp="1"/>
          </p:cNvSpPr>
          <p:nvPr>
            <p:ph type="sldNum" sz="quarter" idx="17"/>
          </p:nvPr>
        </p:nvSpPr>
        <p:spPr/>
        <p:txBody>
          <a:bodyPr/>
          <a:lstStyle/>
          <a:p>
            <a:pPr>
              <a:defRPr/>
            </a:pPr>
            <a:fld id="{373002C3-93E5-45F7-ACE0-39BB8D4779A0}" type="slidenum">
              <a:rPr lang="en-GB" smtClean="0"/>
              <a:pPr>
                <a:defRPr/>
              </a:pPr>
              <a:t>6</a:t>
            </a:fld>
            <a:endParaRPr lang="en-GB"/>
          </a:p>
        </p:txBody>
      </p:sp>
      <p:pic>
        <p:nvPicPr>
          <p:cNvPr id="4" name="Obrázok 3">
            <a:extLst>
              <a:ext uri="{FF2B5EF4-FFF2-40B4-BE49-F238E27FC236}">
                <a16:creationId xmlns:a16="http://schemas.microsoft.com/office/drawing/2014/main" id="{11FABF06-1A39-41F4-B1DC-DCAF61BDF53B}"/>
              </a:ext>
            </a:extLst>
          </p:cNvPr>
          <p:cNvPicPr>
            <a:picLocks noChangeAspect="1"/>
          </p:cNvPicPr>
          <p:nvPr/>
        </p:nvPicPr>
        <p:blipFill>
          <a:blip r:embed="rId3"/>
          <a:stretch>
            <a:fillRect/>
          </a:stretch>
        </p:blipFill>
        <p:spPr>
          <a:xfrm>
            <a:off x="0" y="15486"/>
            <a:ext cx="9144000" cy="6467269"/>
          </a:xfrm>
          <a:prstGeom prst="rect">
            <a:avLst/>
          </a:prstGeom>
        </p:spPr>
      </p:pic>
    </p:spTree>
    <p:extLst>
      <p:ext uri="{BB962C8B-B14F-4D97-AF65-F5344CB8AC3E}">
        <p14:creationId xmlns:p14="http://schemas.microsoft.com/office/powerpoint/2010/main" val="170495431"/>
      </p:ext>
    </p:extLst>
  </p:cSld>
  <p:clrMapOvr>
    <a:masterClrMapping/>
  </p:clrMapOvr>
  <p:transition spd="med">
    <p:pull/>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Zástupný objekt pre pätu 4">
            <a:extLst>
              <a:ext uri="{FF2B5EF4-FFF2-40B4-BE49-F238E27FC236}">
                <a16:creationId xmlns:a16="http://schemas.microsoft.com/office/drawing/2014/main" id="{F9D8EADF-E974-43E6-9C5B-D6D99B1C65ED}"/>
              </a:ext>
            </a:extLst>
          </p:cNvPr>
          <p:cNvSpPr>
            <a:spLocks noGrp="1"/>
          </p:cNvSpPr>
          <p:nvPr>
            <p:ph type="ftr" sz="quarter" idx="16"/>
          </p:nvPr>
        </p:nvSpPr>
        <p:spPr/>
        <p:txBody>
          <a:bodyPr/>
          <a:lstStyle/>
          <a:p>
            <a:pPr>
              <a:defRPr/>
            </a:pPr>
            <a:endParaRPr lang="en-GB"/>
          </a:p>
        </p:txBody>
      </p:sp>
      <p:sp>
        <p:nvSpPr>
          <p:cNvPr id="6" name="Zástupný objekt pre číslo snímky 5">
            <a:extLst>
              <a:ext uri="{FF2B5EF4-FFF2-40B4-BE49-F238E27FC236}">
                <a16:creationId xmlns:a16="http://schemas.microsoft.com/office/drawing/2014/main" id="{49DC7C70-6C67-43C7-B6C9-3EB995D69A82}"/>
              </a:ext>
            </a:extLst>
          </p:cNvPr>
          <p:cNvSpPr>
            <a:spLocks noGrp="1"/>
          </p:cNvSpPr>
          <p:nvPr>
            <p:ph type="sldNum" sz="quarter" idx="17"/>
          </p:nvPr>
        </p:nvSpPr>
        <p:spPr>
          <a:xfrm>
            <a:off x="7316141" y="6506710"/>
            <a:ext cx="660400" cy="152400"/>
          </a:xfrm>
        </p:spPr>
        <p:txBody>
          <a:bodyPr/>
          <a:lstStyle/>
          <a:p>
            <a:pPr>
              <a:defRPr/>
            </a:pPr>
            <a:fld id="{00556183-8368-46F1-861A-02B37D61B3DE}" type="slidenum">
              <a:rPr lang="en-GB" smtClean="0"/>
              <a:pPr>
                <a:defRPr/>
              </a:pPr>
              <a:t>7</a:t>
            </a:fld>
            <a:endParaRPr lang="en-GB"/>
          </a:p>
        </p:txBody>
      </p:sp>
      <p:pic>
        <p:nvPicPr>
          <p:cNvPr id="7" name="Obrázok 6">
            <a:extLst>
              <a:ext uri="{FF2B5EF4-FFF2-40B4-BE49-F238E27FC236}">
                <a16:creationId xmlns:a16="http://schemas.microsoft.com/office/drawing/2014/main" id="{5F94D6C9-3791-470E-9856-D950291F13DA}"/>
              </a:ext>
            </a:extLst>
          </p:cNvPr>
          <p:cNvPicPr>
            <a:picLocks noChangeAspect="1"/>
          </p:cNvPicPr>
          <p:nvPr/>
        </p:nvPicPr>
        <p:blipFill>
          <a:blip r:embed="rId3"/>
          <a:stretch>
            <a:fillRect/>
          </a:stretch>
        </p:blipFill>
        <p:spPr>
          <a:xfrm>
            <a:off x="543689" y="919437"/>
            <a:ext cx="6772452" cy="3809505"/>
          </a:xfrm>
          <a:prstGeom prst="rect">
            <a:avLst/>
          </a:prstGeom>
        </p:spPr>
      </p:pic>
      <p:sp>
        <p:nvSpPr>
          <p:cNvPr id="8" name="Nadpis 1">
            <a:extLst>
              <a:ext uri="{FF2B5EF4-FFF2-40B4-BE49-F238E27FC236}">
                <a16:creationId xmlns:a16="http://schemas.microsoft.com/office/drawing/2014/main" id="{06799E3E-B691-4CDE-8516-0D101671E815}"/>
              </a:ext>
            </a:extLst>
          </p:cNvPr>
          <p:cNvSpPr>
            <a:spLocks noGrp="1"/>
          </p:cNvSpPr>
          <p:nvPr>
            <p:ph type="title"/>
          </p:nvPr>
        </p:nvSpPr>
        <p:spPr>
          <a:xfrm>
            <a:off x="575556" y="475200"/>
            <a:ext cx="7416824" cy="720197"/>
          </a:xfrm>
        </p:spPr>
        <p:txBody>
          <a:bodyPr/>
          <a:lstStyle/>
          <a:p>
            <a:r>
              <a:rPr lang="sk-SK" u="sng" dirty="0">
                <a:hlinkClick r:id="rId4"/>
              </a:rPr>
              <a:t>https://www.predplatenaelektrina.sk/</a:t>
            </a:r>
            <a:br>
              <a:rPr lang="sk-SK" sz="2000" dirty="0">
                <a:solidFill>
                  <a:srgbClr val="FF0000"/>
                </a:solidFill>
              </a:rPr>
            </a:br>
            <a:endParaRPr lang="sk-SK" dirty="0"/>
          </a:p>
        </p:txBody>
      </p:sp>
      <p:sp>
        <p:nvSpPr>
          <p:cNvPr id="9" name="Zástupný objekt pre text 3">
            <a:extLst>
              <a:ext uri="{FF2B5EF4-FFF2-40B4-BE49-F238E27FC236}">
                <a16:creationId xmlns:a16="http://schemas.microsoft.com/office/drawing/2014/main" id="{41D4520E-E328-4DCA-868F-1A54330F543D}"/>
              </a:ext>
            </a:extLst>
          </p:cNvPr>
          <p:cNvSpPr txBox="1">
            <a:spLocks/>
          </p:cNvSpPr>
          <p:nvPr/>
        </p:nvSpPr>
        <p:spPr bwMode="gray">
          <a:xfrm>
            <a:off x="647564" y="4941050"/>
            <a:ext cx="7848872" cy="148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179388" indent="-179388" algn="l" rtl="0" eaLnBrk="0" fontAlgn="base" hangingPunct="0">
              <a:spcBef>
                <a:spcPts val="300"/>
              </a:spcBef>
              <a:spcAft>
                <a:spcPct val="0"/>
              </a:spcAft>
              <a:buFont typeface="Arial" panose="020B0604020202020204" pitchFamily="34" charset="0"/>
              <a:buChar char="•"/>
              <a:defRPr kern="1200">
                <a:solidFill>
                  <a:schemeClr val="tx1"/>
                </a:solidFill>
                <a:latin typeface="+mn-lt"/>
                <a:ea typeface="+mn-ea"/>
                <a:cs typeface="+mn-cs"/>
              </a:defRPr>
            </a:lvl1pPr>
            <a:lvl2pPr marL="360363" indent="-180975" algn="l" rtl="0" eaLnBrk="0" fontAlgn="base" hangingPunct="0">
              <a:spcBef>
                <a:spcPts val="200"/>
              </a:spcBef>
              <a:spcAft>
                <a:spcPct val="0"/>
              </a:spcAft>
              <a:buFont typeface="Symbol" panose="05050102010706020507" pitchFamily="18" charset="2"/>
              <a:buChar char="-"/>
              <a:defRPr kern="1200">
                <a:solidFill>
                  <a:schemeClr val="tx1"/>
                </a:solidFill>
                <a:latin typeface="+mn-lt"/>
                <a:ea typeface="+mn-ea"/>
                <a:cs typeface="+mn-cs"/>
              </a:defRPr>
            </a:lvl2pPr>
            <a:lvl3pPr marL="538163" indent="-179388" algn="l" rtl="0" eaLnBrk="0" fontAlgn="base" hangingPunct="0">
              <a:spcBef>
                <a:spcPts val="200"/>
              </a:spcBef>
              <a:spcAft>
                <a:spcPct val="0"/>
              </a:spcAft>
              <a:buFont typeface="Arial" panose="020B0604020202020204" pitchFamily="34" charset="0"/>
              <a:buChar char="•"/>
              <a:defRPr kern="1200">
                <a:solidFill>
                  <a:schemeClr val="tx1"/>
                </a:solidFill>
                <a:latin typeface="+mn-lt"/>
                <a:ea typeface="+mn-ea"/>
                <a:cs typeface="+mn-cs"/>
              </a:defRPr>
            </a:lvl3pPr>
            <a:lvl4pPr algn="l" rtl="0" eaLnBrk="0" fontAlgn="base" hangingPunct="0">
              <a:spcBef>
                <a:spcPts val="1000"/>
              </a:spcBef>
              <a:spcAft>
                <a:spcPct val="0"/>
              </a:spcAft>
              <a:buFont typeface="Arial" panose="020B0604020202020204" pitchFamily="34" charset="0"/>
              <a:defRPr b="1" kern="1200">
                <a:solidFill>
                  <a:schemeClr val="tx1"/>
                </a:solidFill>
                <a:latin typeface="+mn-lt"/>
                <a:ea typeface="+mn-ea"/>
                <a:cs typeface="+mn-cs"/>
              </a:defRPr>
            </a:lvl4pPr>
            <a:lvl5pPr algn="l" rtl="0" eaLnBrk="0" fontAlgn="base" hangingPunct="0">
              <a:spcBef>
                <a:spcPts val="600"/>
              </a:spcBef>
              <a:spcAft>
                <a:spcPct val="0"/>
              </a:spcAft>
              <a:buFont typeface="Arial" panose="020B0604020202020204" pitchFamily="34" charset="0"/>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sk-SK" sz="1400" b="1" dirty="0"/>
              <a:t>IT aplikácia umožňuje </a:t>
            </a:r>
          </a:p>
          <a:p>
            <a:pPr>
              <a:buFont typeface="Wingdings" panose="05000000000000000000" pitchFamily="2" charset="2"/>
              <a:buChar char="Ø"/>
            </a:pPr>
            <a:r>
              <a:rPr lang="sk-SK" sz="1400" dirty="0"/>
              <a:t>Sledovanie stavu a spotreby podružných elektromerov v bytoch</a:t>
            </a:r>
          </a:p>
          <a:p>
            <a:pPr>
              <a:buFont typeface="Wingdings" panose="05000000000000000000" pitchFamily="2" charset="2"/>
              <a:buChar char="Ø"/>
            </a:pPr>
            <a:r>
              <a:rPr lang="sk-SK" sz="1400" dirty="0"/>
              <a:t>Sledovanie platby za elektrinu a rozúčtovávanie mesačnej spotreby</a:t>
            </a:r>
          </a:p>
          <a:p>
            <a:pPr>
              <a:buFont typeface="Wingdings" panose="05000000000000000000" pitchFamily="2" charset="2"/>
              <a:buChar char="Ø"/>
            </a:pPr>
            <a:r>
              <a:rPr lang="sk-SK" sz="1400" dirty="0"/>
              <a:t>Zapínanie a vypínanie elektriny v byte na diaľku </a:t>
            </a:r>
          </a:p>
          <a:p>
            <a:pPr>
              <a:buFont typeface="Wingdings" panose="05000000000000000000" pitchFamily="2" charset="2"/>
              <a:buChar char="Ø"/>
            </a:pPr>
            <a:r>
              <a:rPr lang="sk-SK" sz="1400" dirty="0"/>
              <a:t>Zmeny nájomníkov a iných údajov, zasielanie správ nájomníkom </a:t>
            </a:r>
          </a:p>
          <a:p>
            <a:pPr marL="0" indent="0">
              <a:buFont typeface="Arial" panose="020B0604020202020204" pitchFamily="34" charset="0"/>
              <a:buNone/>
            </a:pPr>
            <a:r>
              <a:rPr lang="sk-SK" sz="1400" b="1" dirty="0"/>
              <a:t>Nájomník si môže sledovať spotrebu v byte cez dostupné účty </a:t>
            </a:r>
            <a:r>
              <a:rPr lang="sk-SK" sz="1400" dirty="0"/>
              <a:t>(</a:t>
            </a:r>
            <a:r>
              <a:rPr lang="sk-SK" sz="1400" dirty="0" err="1"/>
              <a:t>gmail</a:t>
            </a:r>
            <a:r>
              <a:rPr lang="sk-SK" sz="1400" dirty="0"/>
              <a:t>, mobil ... )</a:t>
            </a:r>
          </a:p>
          <a:p>
            <a:pPr marL="0" indent="0">
              <a:buFont typeface="Arial" panose="020B0604020202020204" pitchFamily="34" charset="0"/>
              <a:buNone/>
            </a:pPr>
            <a:endParaRPr lang="sk-SK" sz="1400" dirty="0">
              <a:solidFill>
                <a:srgbClr val="FF0000"/>
              </a:solidFill>
            </a:endParaRPr>
          </a:p>
        </p:txBody>
      </p:sp>
    </p:spTree>
    <p:extLst>
      <p:ext uri="{BB962C8B-B14F-4D97-AF65-F5344CB8AC3E}">
        <p14:creationId xmlns:p14="http://schemas.microsoft.com/office/powerpoint/2010/main" val="3252502720"/>
      </p:ext>
    </p:extLst>
  </p:cSld>
  <p:clrMapOvr>
    <a:masterClrMapping/>
  </p:clrMapOvr>
  <p:transition spd="med">
    <p:pull/>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Nadpis 8">
            <a:extLst>
              <a:ext uri="{FF2B5EF4-FFF2-40B4-BE49-F238E27FC236}">
                <a16:creationId xmlns:a16="http://schemas.microsoft.com/office/drawing/2014/main" id="{A191BF74-1CC0-485D-A025-E1399DB3AE8B}"/>
              </a:ext>
            </a:extLst>
          </p:cNvPr>
          <p:cNvSpPr>
            <a:spLocks noGrp="1"/>
          </p:cNvSpPr>
          <p:nvPr>
            <p:ph type="title"/>
          </p:nvPr>
        </p:nvSpPr>
        <p:spPr>
          <a:xfrm>
            <a:off x="576000" y="548680"/>
            <a:ext cx="7416824" cy="370101"/>
          </a:xfrm>
        </p:spPr>
        <p:txBody>
          <a:bodyPr/>
          <a:lstStyle/>
          <a:p>
            <a:r>
              <a:rPr lang="sk-SK" dirty="0">
                <a:solidFill>
                  <a:schemeClr val="accent4"/>
                </a:solidFill>
              </a:rPr>
              <a:t>Realizované projekty </a:t>
            </a:r>
          </a:p>
        </p:txBody>
      </p:sp>
      <p:sp>
        <p:nvSpPr>
          <p:cNvPr id="10" name="Zástupný objekt pre text 9">
            <a:extLst>
              <a:ext uri="{FF2B5EF4-FFF2-40B4-BE49-F238E27FC236}">
                <a16:creationId xmlns:a16="http://schemas.microsoft.com/office/drawing/2014/main" id="{6C73A028-A164-41B4-B76C-7AC0BF384F06}"/>
              </a:ext>
            </a:extLst>
          </p:cNvPr>
          <p:cNvSpPr>
            <a:spLocks noGrp="1"/>
          </p:cNvSpPr>
          <p:nvPr>
            <p:ph type="body" sz="quarter" idx="14"/>
          </p:nvPr>
        </p:nvSpPr>
        <p:spPr/>
        <p:txBody>
          <a:bodyPr/>
          <a:lstStyle/>
          <a:p>
            <a:endParaRPr lang="sk-SK" altLang="sk-SK" dirty="0">
              <a:latin typeface="Innogy Light" panose="020B0303040000020003" pitchFamily="34" charset="0"/>
            </a:endParaRPr>
          </a:p>
        </p:txBody>
      </p:sp>
      <p:grpSp>
        <p:nvGrpSpPr>
          <p:cNvPr id="8" name="Skupina 7">
            <a:extLst>
              <a:ext uri="{FF2B5EF4-FFF2-40B4-BE49-F238E27FC236}">
                <a16:creationId xmlns:a16="http://schemas.microsoft.com/office/drawing/2014/main" id="{930CD54A-3217-45C8-9980-982D807843DE}"/>
              </a:ext>
            </a:extLst>
          </p:cNvPr>
          <p:cNvGrpSpPr/>
          <p:nvPr/>
        </p:nvGrpSpPr>
        <p:grpSpPr>
          <a:xfrm>
            <a:off x="0" y="989950"/>
            <a:ext cx="3059832" cy="1963610"/>
            <a:chOff x="0" y="989950"/>
            <a:chExt cx="3059832" cy="1963610"/>
          </a:xfrm>
        </p:grpSpPr>
        <p:pic>
          <p:nvPicPr>
            <p:cNvPr id="11" name="Obrázok 10">
              <a:extLst>
                <a:ext uri="{FF2B5EF4-FFF2-40B4-BE49-F238E27FC236}">
                  <a16:creationId xmlns:a16="http://schemas.microsoft.com/office/drawing/2014/main" id="{4B62A6F4-CD7B-440F-ABC2-7901AC611955}"/>
                </a:ext>
              </a:extLst>
            </p:cNvPr>
            <p:cNvPicPr>
              <a:picLocks noChangeAspect="1"/>
            </p:cNvPicPr>
            <p:nvPr/>
          </p:nvPicPr>
          <p:blipFill>
            <a:blip r:embed="rId3"/>
            <a:stretch>
              <a:fillRect/>
            </a:stretch>
          </p:blipFill>
          <p:spPr>
            <a:xfrm>
              <a:off x="0" y="989950"/>
              <a:ext cx="3059832" cy="1963610"/>
            </a:xfrm>
            <a:prstGeom prst="rect">
              <a:avLst/>
            </a:prstGeom>
          </p:spPr>
        </p:pic>
        <p:sp>
          <p:nvSpPr>
            <p:cNvPr id="29" name="Rechteck 48">
              <a:extLst>
                <a:ext uri="{FF2B5EF4-FFF2-40B4-BE49-F238E27FC236}">
                  <a16:creationId xmlns:a16="http://schemas.microsoft.com/office/drawing/2014/main" id="{94C0003C-34EF-4DD7-9974-41CEA8213FA3}"/>
                </a:ext>
              </a:extLst>
            </p:cNvPr>
            <p:cNvSpPr>
              <a:spLocks/>
            </p:cNvSpPr>
            <p:nvPr/>
          </p:nvSpPr>
          <p:spPr bwMode="gray">
            <a:xfrm>
              <a:off x="0" y="2276621"/>
              <a:ext cx="2334397" cy="676939"/>
            </a:xfrm>
            <a:prstGeom prst="rect">
              <a:avLst/>
            </a:prstGeom>
            <a:solidFill>
              <a:schemeClr val="accent1"/>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eaLnBrk="1" fontAlgn="auto" hangingPunct="1">
                <a:spcBef>
                  <a:spcPts val="0"/>
                </a:spcBef>
                <a:spcAft>
                  <a:spcPts val="0"/>
                </a:spcAft>
                <a:defRPr/>
              </a:pPr>
              <a:r>
                <a:rPr lang="sk-SK" sz="1200" b="1" dirty="0">
                  <a:solidFill>
                    <a:schemeClr val="bg1"/>
                  </a:solidFill>
                </a:rPr>
                <a:t>MČ Šaca </a:t>
              </a:r>
              <a:r>
                <a:rPr lang="sk-SK" sz="1200" dirty="0">
                  <a:solidFill>
                    <a:schemeClr val="bg1"/>
                  </a:solidFill>
                </a:rPr>
                <a:t>zrekonštruovala elektrické rozvody v starších bytoch. November 2017</a:t>
              </a:r>
            </a:p>
          </p:txBody>
        </p:sp>
        <p:sp>
          <p:nvSpPr>
            <p:cNvPr id="2" name="Bublina reči: obdĺžnik 1">
              <a:extLst>
                <a:ext uri="{FF2B5EF4-FFF2-40B4-BE49-F238E27FC236}">
                  <a16:creationId xmlns:a16="http://schemas.microsoft.com/office/drawing/2014/main" id="{A6291E42-9569-48C5-A5E2-AE98A7210D1C}"/>
                </a:ext>
              </a:extLst>
            </p:cNvPr>
            <p:cNvSpPr/>
            <p:nvPr/>
          </p:nvSpPr>
          <p:spPr bwMode="gray">
            <a:xfrm>
              <a:off x="2231609" y="1052605"/>
              <a:ext cx="720080" cy="403432"/>
            </a:xfrm>
            <a:prstGeom prst="wedgeRectCallout">
              <a:avLst>
                <a:gd name="adj1" fmla="val -75598"/>
                <a:gd name="adj2" fmla="val 77779"/>
              </a:avLst>
            </a:prstGeom>
            <a:noFill/>
            <a:ln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600"/>
                </a:spcBef>
              </a:pPr>
              <a:r>
                <a:rPr lang="sk-SK" sz="1000" dirty="0">
                  <a:solidFill>
                    <a:schemeClr val="bg1"/>
                  </a:solidFill>
                </a:rPr>
                <a:t>72 domácnosti</a:t>
              </a:r>
            </a:p>
          </p:txBody>
        </p:sp>
      </p:grpSp>
      <p:grpSp>
        <p:nvGrpSpPr>
          <p:cNvPr id="7" name="Skupina 6">
            <a:extLst>
              <a:ext uri="{FF2B5EF4-FFF2-40B4-BE49-F238E27FC236}">
                <a16:creationId xmlns:a16="http://schemas.microsoft.com/office/drawing/2014/main" id="{C56D7F89-9DC0-493B-9337-7EED22CFCCCC}"/>
              </a:ext>
            </a:extLst>
          </p:cNvPr>
          <p:cNvGrpSpPr/>
          <p:nvPr/>
        </p:nvGrpSpPr>
        <p:grpSpPr>
          <a:xfrm>
            <a:off x="3536819" y="1204149"/>
            <a:ext cx="4139438" cy="2446231"/>
            <a:chOff x="3194311" y="1134949"/>
            <a:chExt cx="4192346" cy="2656653"/>
          </a:xfrm>
        </p:grpSpPr>
        <p:pic>
          <p:nvPicPr>
            <p:cNvPr id="12" name="Obrázok 11">
              <a:extLst>
                <a:ext uri="{FF2B5EF4-FFF2-40B4-BE49-F238E27FC236}">
                  <a16:creationId xmlns:a16="http://schemas.microsoft.com/office/drawing/2014/main" id="{67A31810-CC07-4547-91BB-235B147FCF04}"/>
                </a:ext>
              </a:extLst>
            </p:cNvPr>
            <p:cNvPicPr>
              <a:picLocks noChangeAspect="1"/>
            </p:cNvPicPr>
            <p:nvPr/>
          </p:nvPicPr>
          <p:blipFill rotWithShape="1">
            <a:blip r:embed="rId4"/>
            <a:srcRect b="15869"/>
            <a:stretch/>
          </p:blipFill>
          <p:spPr>
            <a:xfrm>
              <a:off x="3203848" y="1153693"/>
              <a:ext cx="4182809" cy="2637909"/>
            </a:xfrm>
            <a:prstGeom prst="rect">
              <a:avLst/>
            </a:prstGeom>
          </p:spPr>
        </p:pic>
        <p:sp>
          <p:nvSpPr>
            <p:cNvPr id="18" name="Rechteck 48">
              <a:extLst>
                <a:ext uri="{FF2B5EF4-FFF2-40B4-BE49-F238E27FC236}">
                  <a16:creationId xmlns:a16="http://schemas.microsoft.com/office/drawing/2014/main" id="{EC1C2B74-D7AD-464B-B629-A200F55AEFB7}"/>
                </a:ext>
              </a:extLst>
            </p:cNvPr>
            <p:cNvSpPr>
              <a:spLocks/>
            </p:cNvSpPr>
            <p:nvPr/>
          </p:nvSpPr>
          <p:spPr bwMode="gray">
            <a:xfrm>
              <a:off x="3194311" y="1134949"/>
              <a:ext cx="1267197" cy="696729"/>
            </a:xfrm>
            <a:prstGeom prst="rect">
              <a:avLst/>
            </a:prstGeom>
            <a:solidFill>
              <a:schemeClr val="accent1"/>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eaLnBrk="1" fontAlgn="auto" hangingPunct="1">
                <a:spcBef>
                  <a:spcPts val="0"/>
                </a:spcBef>
                <a:spcAft>
                  <a:spcPts val="0"/>
                </a:spcAft>
                <a:defRPr/>
              </a:pPr>
              <a:r>
                <a:rPr lang="sk-SK" sz="1200" b="1" dirty="0">
                  <a:solidFill>
                    <a:schemeClr val="bg1"/>
                  </a:solidFill>
                </a:rPr>
                <a:t>Dobšiná</a:t>
              </a:r>
              <a:r>
                <a:rPr lang="sk-SK" sz="1200" dirty="0">
                  <a:solidFill>
                    <a:schemeClr val="bg1"/>
                  </a:solidFill>
                </a:rPr>
                <a:t> postavila nové obecné byty.</a:t>
              </a:r>
            </a:p>
            <a:p>
              <a:pPr algn="ctr" eaLnBrk="1" fontAlgn="auto" hangingPunct="1">
                <a:spcBef>
                  <a:spcPts val="0"/>
                </a:spcBef>
                <a:spcAft>
                  <a:spcPts val="0"/>
                </a:spcAft>
                <a:defRPr/>
              </a:pPr>
              <a:r>
                <a:rPr lang="sk-SK" sz="1200" dirty="0">
                  <a:solidFill>
                    <a:schemeClr val="bg1"/>
                  </a:solidFill>
                </a:rPr>
                <a:t>September 2018 </a:t>
              </a:r>
            </a:p>
          </p:txBody>
        </p:sp>
        <p:sp>
          <p:nvSpPr>
            <p:cNvPr id="19" name="Bublina reči: obdĺžnik 18">
              <a:extLst>
                <a:ext uri="{FF2B5EF4-FFF2-40B4-BE49-F238E27FC236}">
                  <a16:creationId xmlns:a16="http://schemas.microsoft.com/office/drawing/2014/main" id="{A4C691B5-1537-4F16-B14E-0F5F7AD280CD}"/>
                </a:ext>
              </a:extLst>
            </p:cNvPr>
            <p:cNvSpPr/>
            <p:nvPr/>
          </p:nvSpPr>
          <p:spPr bwMode="gray">
            <a:xfrm>
              <a:off x="6025894" y="1202804"/>
              <a:ext cx="720080" cy="403432"/>
            </a:xfrm>
            <a:prstGeom prst="wedgeRectCallout">
              <a:avLst>
                <a:gd name="adj1" fmla="val -75598"/>
                <a:gd name="adj2" fmla="val 77779"/>
              </a:avLst>
            </a:prstGeom>
            <a:noFill/>
            <a:ln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600"/>
                </a:spcBef>
              </a:pPr>
              <a:r>
                <a:rPr lang="sk-SK" sz="1000" dirty="0">
                  <a:solidFill>
                    <a:schemeClr val="bg1"/>
                  </a:solidFill>
                </a:rPr>
                <a:t>102 domácnosti</a:t>
              </a:r>
            </a:p>
          </p:txBody>
        </p:sp>
      </p:grpSp>
      <p:sp>
        <p:nvSpPr>
          <p:cNvPr id="20" name="Rechteck 45">
            <a:extLst>
              <a:ext uri="{FF2B5EF4-FFF2-40B4-BE49-F238E27FC236}">
                <a16:creationId xmlns:a16="http://schemas.microsoft.com/office/drawing/2014/main" id="{2D4F4CCC-5517-47FB-B741-03CCC14EF3B6}"/>
              </a:ext>
            </a:extLst>
          </p:cNvPr>
          <p:cNvSpPr>
            <a:spLocks/>
          </p:cNvSpPr>
          <p:nvPr/>
        </p:nvSpPr>
        <p:spPr bwMode="gray">
          <a:xfrm>
            <a:off x="286025" y="6111096"/>
            <a:ext cx="6048672" cy="551021"/>
          </a:xfrm>
          <a:prstGeom prst="rect">
            <a:avLst/>
          </a:prstGeom>
          <a:solidFill>
            <a:srgbClr val="00B0F0"/>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1"/>
          <a:lstStyle/>
          <a:p>
            <a:pPr eaLnBrk="1" fontAlgn="auto" hangingPunct="1">
              <a:spcBef>
                <a:spcPts val="0"/>
              </a:spcBef>
              <a:spcAft>
                <a:spcPts val="0"/>
              </a:spcAft>
              <a:defRPr/>
            </a:pPr>
            <a:r>
              <a:rPr lang="sk-SK" sz="1200" dirty="0"/>
              <a:t>Spravovanie platieb aj distribúcie cez stránku </a:t>
            </a:r>
            <a:r>
              <a:rPr lang="sk-SK" sz="1200" b="1" dirty="0">
                <a:hlinkClick r:id="rId5"/>
              </a:rPr>
              <a:t>www.predplatenaelektrina.sk</a:t>
            </a:r>
            <a:endParaRPr lang="sk-SK" sz="1200" b="1" dirty="0"/>
          </a:p>
          <a:p>
            <a:pPr eaLnBrk="1" fontAlgn="auto" hangingPunct="1">
              <a:spcBef>
                <a:spcPts val="0"/>
              </a:spcBef>
              <a:spcAft>
                <a:spcPts val="0"/>
              </a:spcAft>
              <a:defRPr/>
            </a:pPr>
            <a:r>
              <a:rPr lang="sk-SK" sz="1200" dirty="0"/>
              <a:t>Toto slovné spojenie sa zároveň stalo </a:t>
            </a:r>
            <a:r>
              <a:rPr lang="sk-SK" sz="1200" b="1" dirty="0"/>
              <a:t>značkou</a:t>
            </a:r>
            <a:r>
              <a:rPr lang="sk-SK" sz="1200" dirty="0"/>
              <a:t>, pod ktorou VSD oficiálne prezentuje produkt. </a:t>
            </a:r>
          </a:p>
        </p:txBody>
      </p:sp>
      <p:grpSp>
        <p:nvGrpSpPr>
          <p:cNvPr id="6" name="Skupina 5">
            <a:extLst>
              <a:ext uri="{FF2B5EF4-FFF2-40B4-BE49-F238E27FC236}">
                <a16:creationId xmlns:a16="http://schemas.microsoft.com/office/drawing/2014/main" id="{7A26ED2F-BE1A-4785-93F4-59C1D8947E5D}"/>
              </a:ext>
            </a:extLst>
          </p:cNvPr>
          <p:cNvGrpSpPr/>
          <p:nvPr/>
        </p:nvGrpSpPr>
        <p:grpSpPr>
          <a:xfrm>
            <a:off x="5468765" y="2718444"/>
            <a:ext cx="3555434" cy="2601137"/>
            <a:chOff x="5554029" y="4451440"/>
            <a:chExt cx="3776440" cy="2831486"/>
          </a:xfrm>
        </p:grpSpPr>
        <p:grpSp>
          <p:nvGrpSpPr>
            <p:cNvPr id="5" name="Skupina 4">
              <a:extLst>
                <a:ext uri="{FF2B5EF4-FFF2-40B4-BE49-F238E27FC236}">
                  <a16:creationId xmlns:a16="http://schemas.microsoft.com/office/drawing/2014/main" id="{832A61B4-AF56-41DE-8747-B3DE988A43D4}"/>
                </a:ext>
              </a:extLst>
            </p:cNvPr>
            <p:cNvGrpSpPr/>
            <p:nvPr/>
          </p:nvGrpSpPr>
          <p:grpSpPr>
            <a:xfrm>
              <a:off x="5555154" y="4451440"/>
              <a:ext cx="3775315" cy="2831486"/>
              <a:chOff x="5555154" y="4451440"/>
              <a:chExt cx="3775315" cy="2831486"/>
            </a:xfrm>
          </p:grpSpPr>
          <p:pic>
            <p:nvPicPr>
              <p:cNvPr id="4" name="Obrázok 3">
                <a:extLst>
                  <a:ext uri="{FF2B5EF4-FFF2-40B4-BE49-F238E27FC236}">
                    <a16:creationId xmlns:a16="http://schemas.microsoft.com/office/drawing/2014/main" id="{838A6672-CACD-4CBC-AD08-3BCB4C07F034}"/>
                  </a:ext>
                </a:extLst>
              </p:cNvPr>
              <p:cNvPicPr>
                <a:picLocks noChangeAspect="1"/>
              </p:cNvPicPr>
              <p:nvPr/>
            </p:nvPicPr>
            <p:blipFill>
              <a:blip r:embed="rId6"/>
              <a:stretch>
                <a:fillRect/>
              </a:stretch>
            </p:blipFill>
            <p:spPr>
              <a:xfrm>
                <a:off x="5555154" y="4451440"/>
                <a:ext cx="3775315" cy="2831486"/>
              </a:xfrm>
              <a:prstGeom prst="rect">
                <a:avLst/>
              </a:prstGeom>
            </p:spPr>
          </p:pic>
          <p:sp>
            <p:nvSpPr>
              <p:cNvPr id="23" name="Bublina reči: obdĺžnik 22">
                <a:extLst>
                  <a:ext uri="{FF2B5EF4-FFF2-40B4-BE49-F238E27FC236}">
                    <a16:creationId xmlns:a16="http://schemas.microsoft.com/office/drawing/2014/main" id="{3A8330AE-15D8-459F-8359-A044D4531BF6}"/>
                  </a:ext>
                </a:extLst>
              </p:cNvPr>
              <p:cNvSpPr/>
              <p:nvPr/>
            </p:nvSpPr>
            <p:spPr bwMode="gray">
              <a:xfrm>
                <a:off x="8406454" y="6474902"/>
                <a:ext cx="720080" cy="403432"/>
              </a:xfrm>
              <a:prstGeom prst="wedgeRectCallout">
                <a:avLst>
                  <a:gd name="adj1" fmla="val -44450"/>
                  <a:gd name="adj2" fmla="val -82590"/>
                </a:avLst>
              </a:prstGeom>
              <a:noFill/>
              <a:ln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600"/>
                  </a:spcBef>
                </a:pPr>
                <a:r>
                  <a:rPr lang="sk-SK" sz="1000" dirty="0">
                    <a:solidFill>
                      <a:schemeClr val="bg1"/>
                    </a:solidFill>
                  </a:rPr>
                  <a:t>48 domácnosti</a:t>
                </a:r>
              </a:p>
            </p:txBody>
          </p:sp>
        </p:grpSp>
        <p:sp>
          <p:nvSpPr>
            <p:cNvPr id="22" name="Rechteck 48">
              <a:extLst>
                <a:ext uri="{FF2B5EF4-FFF2-40B4-BE49-F238E27FC236}">
                  <a16:creationId xmlns:a16="http://schemas.microsoft.com/office/drawing/2014/main" id="{DEC5D597-A8FD-4FAF-9E6D-952EFBFA9BA7}"/>
                </a:ext>
              </a:extLst>
            </p:cNvPr>
            <p:cNvSpPr>
              <a:spLocks/>
            </p:cNvSpPr>
            <p:nvPr/>
          </p:nvSpPr>
          <p:spPr bwMode="gray">
            <a:xfrm>
              <a:off x="5554029" y="4451440"/>
              <a:ext cx="2489273" cy="685039"/>
            </a:xfrm>
            <a:prstGeom prst="rect">
              <a:avLst/>
            </a:prstGeom>
            <a:solidFill>
              <a:schemeClr val="accent1"/>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defRPr/>
              </a:pPr>
              <a:r>
                <a:rPr lang="sk-SK" sz="1200" b="1" dirty="0">
                  <a:solidFill>
                    <a:schemeClr val="bg1"/>
                  </a:solidFill>
                </a:rPr>
                <a:t>MČ Luník IX </a:t>
              </a:r>
              <a:r>
                <a:rPr lang="sk-SK" sz="1200" dirty="0">
                  <a:solidFill>
                    <a:schemeClr val="bg1"/>
                  </a:solidFill>
                </a:rPr>
                <a:t>zrekonštruovala elektrické rozvody v starších bytoch.</a:t>
              </a:r>
              <a:br>
                <a:rPr lang="sk-SK" sz="1200" dirty="0">
                  <a:solidFill>
                    <a:schemeClr val="bg1"/>
                  </a:solidFill>
                </a:rPr>
              </a:br>
              <a:r>
                <a:rPr lang="sk-SK" sz="1200" dirty="0">
                  <a:solidFill>
                    <a:schemeClr val="bg1"/>
                  </a:solidFill>
                </a:rPr>
                <a:t>November 2018</a:t>
              </a:r>
            </a:p>
          </p:txBody>
        </p:sp>
      </p:grpSp>
      <p:sp>
        <p:nvSpPr>
          <p:cNvPr id="26" name="Rechteck 44">
            <a:extLst>
              <a:ext uri="{FF2B5EF4-FFF2-40B4-BE49-F238E27FC236}">
                <a16:creationId xmlns:a16="http://schemas.microsoft.com/office/drawing/2014/main" id="{B6962A47-7DC0-4F0E-ABCA-A612F054976F}"/>
              </a:ext>
            </a:extLst>
          </p:cNvPr>
          <p:cNvSpPr>
            <a:spLocks/>
          </p:cNvSpPr>
          <p:nvPr/>
        </p:nvSpPr>
        <p:spPr bwMode="gray">
          <a:xfrm>
            <a:off x="2346450" y="4855861"/>
            <a:ext cx="2899140" cy="949534"/>
          </a:xfrm>
          <a:prstGeom prst="rect">
            <a:avLst/>
          </a:prstGeom>
          <a:solidFill>
            <a:srgbClr val="64B42D"/>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216000" tIns="201600" rIns="180000" bIns="230400" anchor="ctr" anchorCtr="1"/>
          <a:lstStyle/>
          <a:p>
            <a:pPr algn="ctr" eaLnBrk="1" fontAlgn="auto" hangingPunct="1">
              <a:spcBef>
                <a:spcPts val="0"/>
              </a:spcBef>
              <a:spcAft>
                <a:spcPts val="0"/>
              </a:spcAft>
              <a:defRPr/>
            </a:pPr>
            <a:r>
              <a:rPr lang="sk-SK" sz="1400" b="1" dirty="0"/>
              <a:t>Prístup k elektrine majú všetci nájomníci, ktorí uhradia zálohovú platbu za elektrinu a nájomné. </a:t>
            </a:r>
          </a:p>
        </p:txBody>
      </p:sp>
      <p:sp>
        <p:nvSpPr>
          <p:cNvPr id="30" name="Rechteck 45">
            <a:extLst>
              <a:ext uri="{FF2B5EF4-FFF2-40B4-BE49-F238E27FC236}">
                <a16:creationId xmlns:a16="http://schemas.microsoft.com/office/drawing/2014/main" id="{27D0FAD2-DE24-41C4-8DEB-FD8BF29EE8D3}"/>
              </a:ext>
            </a:extLst>
          </p:cNvPr>
          <p:cNvSpPr>
            <a:spLocks/>
          </p:cNvSpPr>
          <p:nvPr/>
        </p:nvSpPr>
        <p:spPr bwMode="gray">
          <a:xfrm>
            <a:off x="235038" y="3256187"/>
            <a:ext cx="4552986" cy="1198908"/>
          </a:xfrm>
          <a:prstGeom prst="rect">
            <a:avLst/>
          </a:prstGeom>
          <a:solidFill>
            <a:srgbClr val="EB4B0A"/>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1"/>
          <a:lstStyle/>
          <a:p>
            <a:pPr algn="ctr">
              <a:defRPr/>
            </a:pPr>
            <a:r>
              <a:rPr lang="sk-SK" sz="1300" dirty="0">
                <a:solidFill>
                  <a:schemeClr val="bg1"/>
                </a:solidFill>
              </a:rPr>
              <a:t>Všetky lokality využili produkt VSD. </a:t>
            </a:r>
            <a:r>
              <a:rPr lang="sk-SK" sz="1300" dirty="0"/>
              <a:t>Systém pomáha samospráve pri udržiavaní </a:t>
            </a:r>
            <a:r>
              <a:rPr lang="sk-SK" sz="1300" b="1" dirty="0"/>
              <a:t>platobnej disciplíny</a:t>
            </a:r>
            <a:r>
              <a:rPr lang="sk-SK" sz="1300" dirty="0"/>
              <a:t>, učí nájomníkov </a:t>
            </a:r>
            <a:r>
              <a:rPr lang="sk-SK" sz="1300" b="1" dirty="0"/>
              <a:t>rozumne hospodáriť</a:t>
            </a:r>
            <a:r>
              <a:rPr lang="sk-SK" sz="1300" dirty="0"/>
              <a:t>, </a:t>
            </a:r>
            <a:r>
              <a:rPr lang="sk-SK" sz="1300" b="1" dirty="0"/>
              <a:t>chráni majetok MČ </a:t>
            </a:r>
            <a:r>
              <a:rPr lang="sk-SK" sz="1300" dirty="0"/>
              <a:t>a pomáha udržať distribučné zariadenia v </a:t>
            </a:r>
            <a:r>
              <a:rPr lang="sk-SK" sz="1300" b="1" dirty="0"/>
              <a:t>prevádzky schopnom stave</a:t>
            </a:r>
            <a:r>
              <a:rPr lang="sk-SK" sz="1300" dirty="0"/>
              <a:t>.  </a:t>
            </a:r>
          </a:p>
        </p:txBody>
      </p:sp>
    </p:spTree>
    <p:extLst>
      <p:ext uri="{BB962C8B-B14F-4D97-AF65-F5344CB8AC3E}">
        <p14:creationId xmlns:p14="http://schemas.microsoft.com/office/powerpoint/2010/main" val="1861480245"/>
      </p:ext>
    </p:extLst>
  </p:cSld>
  <p:clrMapOvr>
    <a:masterClrMapping/>
  </p:clrMapOvr>
  <p:transition spd="med">
    <p:pull/>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adpis 4"/>
          <p:cNvSpPr>
            <a:spLocks noGrp="1"/>
          </p:cNvSpPr>
          <p:nvPr>
            <p:ph type="ctrTitle"/>
          </p:nvPr>
        </p:nvSpPr>
        <p:spPr>
          <a:xfrm>
            <a:off x="251520" y="1196752"/>
            <a:ext cx="5688632" cy="2053768"/>
          </a:xfrm>
          <a:ln w="28575"/>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p:spPr>
        <p:txBody>
          <a:bodyPr/>
          <a:lstStyle/>
          <a:p>
            <a:pPr>
              <a:defRPr/>
            </a:pPr>
            <a:r>
              <a:rPr lang="sk-SK" b="1" dirty="0"/>
              <a:t>Ďakujeme za pozornosť! </a:t>
            </a:r>
            <a:br>
              <a:rPr lang="sk-SK" b="1" dirty="0"/>
            </a:br>
            <a:br>
              <a:rPr lang="sk-SK" b="1" dirty="0"/>
            </a:br>
            <a:r>
              <a:rPr lang="sk-SK" b="1" dirty="0">
                <a:solidFill>
                  <a:schemeClr val="accent4"/>
                </a:solidFill>
              </a:rPr>
              <a:t>predplatenaelektrina@vsdas.sk</a:t>
            </a:r>
            <a:br>
              <a:rPr lang="sk-SK" b="1" dirty="0">
                <a:solidFill>
                  <a:schemeClr val="accent4"/>
                </a:solidFill>
              </a:rPr>
            </a:br>
            <a:r>
              <a:rPr lang="sk-SK" sz="2800" b="1" dirty="0">
                <a:solidFill>
                  <a:schemeClr val="accent4"/>
                </a:solidFill>
                <a:hlinkClick r:id="rId3"/>
              </a:rPr>
              <a:t>www.predplatenaelektrina.sk</a:t>
            </a:r>
            <a:br>
              <a:rPr lang="sk-SK" sz="2800" b="1" dirty="0"/>
            </a:br>
            <a:br>
              <a:rPr lang="sk-SK" b="1" dirty="0"/>
            </a:br>
            <a:br>
              <a:rPr lang="sk-SK" b="1" dirty="0"/>
            </a:br>
            <a:endParaRPr lang="sk-SK" b="1" dirty="0"/>
          </a:p>
        </p:txBody>
      </p:sp>
      <p:sp>
        <p:nvSpPr>
          <p:cNvPr id="3" name="Nadpis 4">
            <a:extLst>
              <a:ext uri="{FF2B5EF4-FFF2-40B4-BE49-F238E27FC236}">
                <a16:creationId xmlns:a16="http://schemas.microsoft.com/office/drawing/2014/main" id="{663A0AE8-FEA7-4888-AA6C-76E195C11AE0}"/>
              </a:ext>
            </a:extLst>
          </p:cNvPr>
          <p:cNvSpPr txBox="1">
            <a:spLocks/>
          </p:cNvSpPr>
          <p:nvPr/>
        </p:nvSpPr>
        <p:spPr bwMode="gray">
          <a:xfrm>
            <a:off x="251520" y="4077072"/>
            <a:ext cx="8712968" cy="2376264"/>
          </a:xfrm>
          <a:prstGeom prst="rect">
            <a:avLst/>
          </a:prstGeom>
          <a:solidFill>
            <a:schemeClr val="accent4">
              <a:lumMod val="75000"/>
            </a:schemeClr>
          </a:solidFill>
          <a:ln w="28575">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p:spPr>
        <p:txBody>
          <a:bodyPr vert="horz" wrap="square" lIns="396000" tIns="396000" rIns="396000" bIns="432000" numCol="1" anchor="t" anchorCtr="0" compatLnSpc="1">
            <a:prstTxWarp prst="textNoShape">
              <a:avLst/>
            </a:prstTxWarp>
            <a:noAutofit/>
          </a:bodyPr>
          <a:lstStyle>
            <a:lvl1pPr algn="l" rtl="0" eaLnBrk="0" fontAlgn="base" hangingPunct="0">
              <a:lnSpc>
                <a:spcPct val="90000"/>
              </a:lnSpc>
              <a:spcBef>
                <a:spcPct val="0"/>
              </a:spcBef>
              <a:spcAft>
                <a:spcPct val="0"/>
              </a:spcAft>
              <a:defRPr sz="2600" b="0" kern="1200">
                <a:solidFill>
                  <a:schemeClr val="bg1"/>
                </a:solidFill>
                <a:latin typeface="+mj-lt"/>
                <a:ea typeface="+mj-ea"/>
                <a:cs typeface="+mj-cs"/>
              </a:defRPr>
            </a:lvl1pPr>
            <a:lvl2pPr algn="l" rtl="0" eaLnBrk="0" fontAlgn="base" hangingPunct="0">
              <a:lnSpc>
                <a:spcPct val="90000"/>
              </a:lnSpc>
              <a:spcBef>
                <a:spcPct val="0"/>
              </a:spcBef>
              <a:spcAft>
                <a:spcPct val="0"/>
              </a:spcAft>
              <a:defRPr sz="2600">
                <a:solidFill>
                  <a:schemeClr val="tx1"/>
                </a:solidFill>
                <a:latin typeface="Calibri" panose="020F0502020204030204" pitchFamily="34" charset="0"/>
              </a:defRPr>
            </a:lvl2pPr>
            <a:lvl3pPr algn="l" rtl="0" eaLnBrk="0" fontAlgn="base" hangingPunct="0">
              <a:lnSpc>
                <a:spcPct val="90000"/>
              </a:lnSpc>
              <a:spcBef>
                <a:spcPct val="0"/>
              </a:spcBef>
              <a:spcAft>
                <a:spcPct val="0"/>
              </a:spcAft>
              <a:defRPr sz="2600">
                <a:solidFill>
                  <a:schemeClr val="tx1"/>
                </a:solidFill>
                <a:latin typeface="Calibri" panose="020F0502020204030204" pitchFamily="34" charset="0"/>
              </a:defRPr>
            </a:lvl3pPr>
            <a:lvl4pPr algn="l" rtl="0" eaLnBrk="0" fontAlgn="base" hangingPunct="0">
              <a:lnSpc>
                <a:spcPct val="90000"/>
              </a:lnSpc>
              <a:spcBef>
                <a:spcPct val="0"/>
              </a:spcBef>
              <a:spcAft>
                <a:spcPct val="0"/>
              </a:spcAft>
              <a:defRPr sz="2600">
                <a:solidFill>
                  <a:schemeClr val="tx1"/>
                </a:solidFill>
                <a:latin typeface="Calibri" panose="020F0502020204030204" pitchFamily="34" charset="0"/>
              </a:defRPr>
            </a:lvl4pPr>
            <a:lvl5pPr algn="l" rtl="0" eaLnBrk="0" fontAlgn="base" hangingPunct="0">
              <a:lnSpc>
                <a:spcPct val="90000"/>
              </a:lnSpc>
              <a:spcBef>
                <a:spcPct val="0"/>
              </a:spcBef>
              <a:spcAft>
                <a:spcPct val="0"/>
              </a:spcAft>
              <a:defRPr sz="2600">
                <a:solidFill>
                  <a:schemeClr val="tx1"/>
                </a:solidFill>
                <a:latin typeface="Calibri" panose="020F0502020204030204" pitchFamily="34" charset="0"/>
              </a:defRPr>
            </a:lvl5pPr>
            <a:lvl6pPr marL="457200" algn="l" rtl="0" fontAlgn="base">
              <a:lnSpc>
                <a:spcPct val="90000"/>
              </a:lnSpc>
              <a:spcBef>
                <a:spcPct val="0"/>
              </a:spcBef>
              <a:spcAft>
                <a:spcPct val="0"/>
              </a:spcAft>
              <a:defRPr sz="2600">
                <a:solidFill>
                  <a:schemeClr val="tx1"/>
                </a:solidFill>
                <a:latin typeface="Calibri" panose="020F0502020204030204" pitchFamily="34" charset="0"/>
              </a:defRPr>
            </a:lvl6pPr>
            <a:lvl7pPr marL="914400" algn="l" rtl="0" fontAlgn="base">
              <a:lnSpc>
                <a:spcPct val="90000"/>
              </a:lnSpc>
              <a:spcBef>
                <a:spcPct val="0"/>
              </a:spcBef>
              <a:spcAft>
                <a:spcPct val="0"/>
              </a:spcAft>
              <a:defRPr sz="2600">
                <a:solidFill>
                  <a:schemeClr val="tx1"/>
                </a:solidFill>
                <a:latin typeface="Calibri" panose="020F0502020204030204" pitchFamily="34" charset="0"/>
              </a:defRPr>
            </a:lvl7pPr>
            <a:lvl8pPr marL="1371600" algn="l" rtl="0" fontAlgn="base">
              <a:lnSpc>
                <a:spcPct val="90000"/>
              </a:lnSpc>
              <a:spcBef>
                <a:spcPct val="0"/>
              </a:spcBef>
              <a:spcAft>
                <a:spcPct val="0"/>
              </a:spcAft>
              <a:defRPr sz="2600">
                <a:solidFill>
                  <a:schemeClr val="tx1"/>
                </a:solidFill>
                <a:latin typeface="Calibri" panose="020F0502020204030204" pitchFamily="34" charset="0"/>
              </a:defRPr>
            </a:lvl8pPr>
            <a:lvl9pPr marL="1828800" algn="l" rtl="0" fontAlgn="base">
              <a:lnSpc>
                <a:spcPct val="90000"/>
              </a:lnSpc>
              <a:spcBef>
                <a:spcPct val="0"/>
              </a:spcBef>
              <a:spcAft>
                <a:spcPct val="0"/>
              </a:spcAft>
              <a:defRPr sz="2600">
                <a:solidFill>
                  <a:schemeClr val="tx1"/>
                </a:solidFill>
                <a:latin typeface="Calibri" panose="020F0502020204030204" pitchFamily="34" charset="0"/>
              </a:defRPr>
            </a:lvl9pPr>
          </a:lstStyle>
          <a:p>
            <a:pPr>
              <a:defRPr/>
            </a:pPr>
            <a:r>
              <a:rPr lang="sk-SK" sz="2000" b="1" dirty="0"/>
              <a:t>Kontaktujte nás,  pomôžeme Vám:</a:t>
            </a:r>
          </a:p>
          <a:p>
            <a:pPr marL="457200" indent="-457200">
              <a:buFont typeface="Wingdings" panose="05000000000000000000" pitchFamily="2" charset="2"/>
              <a:buChar char="ü"/>
              <a:defRPr/>
            </a:pPr>
            <a:r>
              <a:rPr lang="sk-SK" sz="2000" b="1" dirty="0"/>
              <a:t>Pri žiadosti o pripojenie</a:t>
            </a:r>
          </a:p>
          <a:p>
            <a:pPr marL="457200" indent="-457200">
              <a:buFont typeface="Wingdings" panose="05000000000000000000" pitchFamily="2" charset="2"/>
              <a:buChar char="ü"/>
              <a:defRPr/>
            </a:pPr>
            <a:r>
              <a:rPr lang="sk-SK" sz="2000" b="1" dirty="0"/>
              <a:t>Pri príprave projektu, ktorý musí zohľadňovať špecifiká lokality </a:t>
            </a:r>
            <a:br>
              <a:rPr lang="sk-SK" sz="2000" b="1" dirty="0"/>
            </a:br>
            <a:r>
              <a:rPr lang="sk-SK" sz="2000" b="1" dirty="0"/>
              <a:t>a systému a pri jeho schvaľovaní</a:t>
            </a:r>
          </a:p>
          <a:p>
            <a:pPr marL="457200" indent="-457200">
              <a:buFont typeface="Wingdings" panose="05000000000000000000" pitchFamily="2" charset="2"/>
              <a:buChar char="ü"/>
              <a:defRPr/>
            </a:pPr>
            <a:r>
              <a:rPr lang="sk-SK" sz="2000" b="1" dirty="0"/>
              <a:t>Pri vysvetlení systému nájomníkom a miestnemu zastupiteľstvu</a:t>
            </a:r>
          </a:p>
          <a:p>
            <a:pPr marL="457200" indent="-457200">
              <a:buFont typeface="Wingdings" panose="05000000000000000000" pitchFamily="2" charset="2"/>
              <a:buChar char="ü"/>
              <a:defRPr/>
            </a:pPr>
            <a:r>
              <a:rPr lang="sk-SK" sz="2000" b="1" dirty="0"/>
              <a:t>Pri možnostiach spolufinancovania, keď neplánujete čerpať eurofondy </a:t>
            </a:r>
            <a:br>
              <a:rPr lang="sk-SK" sz="2400" b="1" dirty="0"/>
            </a:br>
            <a:br>
              <a:rPr lang="sk-SK" b="1" dirty="0"/>
            </a:br>
            <a:endParaRPr lang="sk-SK" b="1" dirty="0"/>
          </a:p>
        </p:txBody>
      </p:sp>
    </p:spTree>
    <p:extLst>
      <p:ext uri="{BB962C8B-B14F-4D97-AF65-F5344CB8AC3E}">
        <p14:creationId xmlns:p14="http://schemas.microsoft.com/office/powerpoint/2010/main" val="2925617235"/>
      </p:ext>
    </p:extLst>
  </p:cSld>
  <p:clrMapOvr>
    <a:masterClrMapping/>
  </p:clrMapOvr>
  <p:transition spd="med">
    <p:pull/>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RESIZE" val="Yes"/>
  <p:tag name="THINKCELLSHAPEDONOTDELETE" val="pcIXkN19ZgUCJnFg.QK_LpA"/>
</p:tagLst>
</file>

<file path=ppt/tags/tag35.xml><?xml version="1.0" encoding="utf-8"?>
<p:tagLst xmlns:a="http://schemas.openxmlformats.org/drawingml/2006/main" xmlns:r="http://schemas.openxmlformats.org/officeDocument/2006/relationships" xmlns:p="http://schemas.openxmlformats.org/presentationml/2006/main">
  <p:tag name="RESIZE" val="Yes"/>
  <p:tag name="THINKCELLSHAPEDONOTDELETE" val="pcIXkN19ZgUCJnFg.QK_Lp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nogy_EN_4:3">
  <a:themeElements>
    <a:clrScheme name="Benutzerdefiniert 109">
      <a:dk1>
        <a:sysClr val="windowText" lastClr="000000"/>
      </a:dk1>
      <a:lt1>
        <a:sysClr val="window" lastClr="FFFFFF"/>
      </a:lt1>
      <a:dk2>
        <a:srgbClr val="3C3732"/>
      </a:dk2>
      <a:lt2>
        <a:srgbClr val="ECEBEB"/>
      </a:lt2>
      <a:accent1>
        <a:srgbClr val="F59B00"/>
      </a:accent1>
      <a:accent2>
        <a:srgbClr val="C81E82"/>
      </a:accent2>
      <a:accent3>
        <a:srgbClr val="009BA5"/>
      </a:accent3>
      <a:accent4>
        <a:srgbClr val="143C8C"/>
      </a:accent4>
      <a:accent5>
        <a:srgbClr val="EB4B0A"/>
      </a:accent5>
      <a:accent6>
        <a:srgbClr val="780A5F"/>
      </a:accent6>
      <a:hlink>
        <a:srgbClr val="143C8C"/>
      </a:hlink>
      <a:folHlink>
        <a:srgbClr val="00AAE1"/>
      </a:folHlink>
    </a:clrScheme>
    <a:fontScheme name="Activaero">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64B42D"/>
        </a:solidFill>
        <a:ln cap="sq">
          <a:noFill/>
          <a:miter lim="800000"/>
        </a:ln>
      </a:spPr>
      <a:bodyPr rot="0" spcFirstLastPara="0" vertOverflow="overflow" horzOverflow="overflow" vert="horz" wrap="square" lIns="144000" tIns="72000" rIns="144000" bIns="72000" numCol="1" spcCol="0" rtlCol="0" fromWordArt="0" anchor="t" anchorCtr="0" forceAA="0" compatLnSpc="1">
        <a:prstTxWarp prst="textNoShape">
          <a:avLst/>
        </a:prstTxWarp>
        <a:noAutofit/>
      </a:bodyPr>
      <a:lstStyle>
        <a:defPPr marL="180000" indent="-180000" algn="ctr">
          <a:spcBef>
            <a:spcPts val="600"/>
          </a:spcBef>
          <a:buFont typeface="Arial" panose="020B0604020202020204" pitchFamily="34" charset="0"/>
          <a:buChar char="•"/>
          <a:defRPr sz="14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333333"/>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80000" indent="-180000">
          <a:spcBef>
            <a:spcPts val="600"/>
          </a:spcBef>
          <a:buFont typeface="Arial" panose="020B0604020202020204" pitchFamily="34" charset="0"/>
          <a:buChar char="•"/>
          <a:defRPr sz="1600" dirty="0" smtClean="0"/>
        </a:defPPr>
      </a:lstStyle>
    </a:txDef>
  </a:objectDefaults>
  <a:extraClrSchemeLst/>
  <a:custClrLst>
    <a:custClr>
      <a:srgbClr val="FFFFFF"/>
    </a:custClr>
    <a:custClr name="Grey">
      <a:srgbClr val="3C3732"/>
    </a:custClr>
    <a:custClr name="Pulsing Purple Bright">
      <a:srgbClr val="C81E82"/>
    </a:custClr>
    <a:custClr name="Fiery Fuchsia Bright">
      <a:srgbClr val="E60055"/>
    </a:custClr>
    <a:custClr name="Radiant Red Bright">
      <a:srgbClr val="EB4B0A"/>
    </a:custClr>
    <a:custClr name="Mellow Yellow Bright">
      <a:srgbClr val="F59B00"/>
    </a:custClr>
    <a:custClr name="Galvanic Green Bright">
      <a:srgbClr val="64B42D"/>
    </a:custClr>
    <a:custClr name="Blazing Blue Bright">
      <a:srgbClr val="009BA5"/>
    </a:custClr>
    <a:custClr name="Iridescent Indigo Bright">
      <a:srgbClr val="00AAE1"/>
    </a:custClr>
    <a:custClr>
      <a:srgbClr val="FFFFFF"/>
    </a:custClr>
    <a:custClr>
      <a:srgbClr val="FFFFFF"/>
    </a:custClr>
    <a:custClr name="Grey 80%">
      <a:srgbClr val="635F5B"/>
    </a:custClr>
    <a:custClr name="Pulsing Purple Muted">
      <a:srgbClr val="780A5F"/>
    </a:custClr>
    <a:custClr name="Fiery Fuchsia Muted">
      <a:srgbClr val="A50032"/>
    </a:custClr>
    <a:custClr name="Radiant Red Muted">
      <a:srgbClr val="B9280A"/>
    </a:custClr>
    <a:custClr name="Mellow Yellow Muted">
      <a:srgbClr val="D27300"/>
    </a:custClr>
    <a:custClr name="Galvanic Green Muted">
      <a:srgbClr val="00875A"/>
    </a:custClr>
    <a:custClr name="Blazing Blue Muted">
      <a:srgbClr val="005F69"/>
    </a:custClr>
    <a:custClr name="Iridescent Indigo Muted">
      <a:srgbClr val="143C8C"/>
    </a:custClr>
    <a:custClr>
      <a:srgbClr val="FFFFFF"/>
    </a:custClr>
    <a:custClr>
      <a:srgbClr val="FFFFFF"/>
    </a:custClr>
    <a:custClr name="Grey 60%">
      <a:srgbClr val="8A8784"/>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Grey 40%">
      <a:srgbClr val="B1AFAD"/>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Grey 20%">
      <a:srgbClr val="D8D7D6"/>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NewCo_scr04.potx" id="{B1E02AFD-02B4-4ABD-A7EB-44B0A155B2CA}" vid="{52DD7AF4-4D78-4099-9645-08E58E0F163F}"/>
    </a:ext>
  </a:extLst>
</a:theme>
</file>

<file path=ppt/theme/theme2.xml><?xml version="1.0" encoding="utf-8"?>
<a:theme xmlns:a="http://schemas.openxmlformats.org/drawingml/2006/main" name="Office">
  <a:themeElements>
    <a:clrScheme name="innogy 2016">
      <a:dk1>
        <a:sysClr val="windowText" lastClr="000000"/>
      </a:dk1>
      <a:lt1>
        <a:sysClr val="window" lastClr="FFFFFF"/>
      </a:lt1>
      <a:dk2>
        <a:srgbClr val="333333"/>
      </a:dk2>
      <a:lt2>
        <a:srgbClr val="E5E5E5"/>
      </a:lt2>
      <a:accent1>
        <a:srgbClr val="F59B00"/>
      </a:accent1>
      <a:accent2>
        <a:srgbClr val="C81E82"/>
      </a:accent2>
      <a:accent3>
        <a:srgbClr val="009BA5"/>
      </a:accent3>
      <a:accent4>
        <a:srgbClr val="143C8C"/>
      </a:accent4>
      <a:accent5>
        <a:srgbClr val="EB4B0A"/>
      </a:accent5>
      <a:accent6>
        <a:srgbClr val="780A5F"/>
      </a:accent6>
      <a:hlink>
        <a:srgbClr val="0000FF"/>
      </a:hlink>
      <a:folHlink>
        <a:srgbClr val="80008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innogy 2016">
      <a:dk1>
        <a:sysClr val="windowText" lastClr="000000"/>
      </a:dk1>
      <a:lt1>
        <a:sysClr val="window" lastClr="FFFFFF"/>
      </a:lt1>
      <a:dk2>
        <a:srgbClr val="333333"/>
      </a:dk2>
      <a:lt2>
        <a:srgbClr val="E5E5E5"/>
      </a:lt2>
      <a:accent1>
        <a:srgbClr val="F59B00"/>
      </a:accent1>
      <a:accent2>
        <a:srgbClr val="C81E82"/>
      </a:accent2>
      <a:accent3>
        <a:srgbClr val="009BA5"/>
      </a:accent3>
      <a:accent4>
        <a:srgbClr val="143C8C"/>
      </a:accent4>
      <a:accent5>
        <a:srgbClr val="EB4B0A"/>
      </a:accent5>
      <a:accent6>
        <a:srgbClr val="780A5F"/>
      </a:accent6>
      <a:hlink>
        <a:srgbClr val="0000FF"/>
      </a:hlink>
      <a:folHlink>
        <a:srgbClr val="80008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613</TotalTime>
  <Words>758</Words>
  <Application>Microsoft Office PowerPoint</Application>
  <PresentationFormat>Prezentácia na obrazovke (4:3)</PresentationFormat>
  <Paragraphs>147</Paragraphs>
  <Slides>9</Slides>
  <Notes>9</Notes>
  <HiddenSlides>1</HiddenSlides>
  <MMClips>0</MMClips>
  <ScaleCrop>false</ScaleCrop>
  <HeadingPairs>
    <vt:vector size="8" baseType="variant">
      <vt:variant>
        <vt:lpstr>Použité písma</vt:lpstr>
      </vt:variant>
      <vt:variant>
        <vt:i4>5</vt:i4>
      </vt:variant>
      <vt:variant>
        <vt:lpstr>Motív</vt:lpstr>
      </vt:variant>
      <vt:variant>
        <vt:i4>1</vt:i4>
      </vt:variant>
      <vt:variant>
        <vt:lpstr>Vložené servery OLE</vt:lpstr>
      </vt:variant>
      <vt:variant>
        <vt:i4>1</vt:i4>
      </vt:variant>
      <vt:variant>
        <vt:lpstr>Nadpisy snímok</vt:lpstr>
      </vt:variant>
      <vt:variant>
        <vt:i4>9</vt:i4>
      </vt:variant>
    </vt:vector>
  </HeadingPairs>
  <TitlesOfParts>
    <vt:vector size="16" baseType="lpstr">
      <vt:lpstr>Arial</vt:lpstr>
      <vt:lpstr>Calibri</vt:lpstr>
      <vt:lpstr>Innogy Light</vt:lpstr>
      <vt:lpstr>Symbol</vt:lpstr>
      <vt:lpstr>Wingdings</vt:lpstr>
      <vt:lpstr>innogy_EN_4:3</vt:lpstr>
      <vt:lpstr>think-cell Folie</vt:lpstr>
      <vt:lpstr>Prezentácia programu PowerPoint</vt:lpstr>
      <vt:lpstr>Elektroinštalácia v sociálnych bytových domoch</vt:lpstr>
      <vt:lpstr>Prezentácia programu PowerPoint</vt:lpstr>
      <vt:lpstr>Predplatená elektrina  </vt:lpstr>
      <vt:lpstr>Prezentácia programu PowerPoint</vt:lpstr>
      <vt:lpstr>Prezentácia programu PowerPoint</vt:lpstr>
      <vt:lpstr>https://www.predplatenaelektrina.sk/ </vt:lpstr>
      <vt:lpstr>Realizované projekty </vt:lpstr>
      <vt:lpstr>Ďakujeme za pozornosť!   predplatenaelektrina@vsdas.sk www.predplatenaelektrina.sk   </vt:lpstr>
    </vt:vector>
  </TitlesOfParts>
  <Manager>First name Surname</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nogy PPT-Master:  HOW TO USE</dc:title>
  <dc:subject>PowerPoint template</dc:subject>
  <dc:creator>Lenovo</dc:creator>
  <dc:description>For PowerPoint 2010 optimized template</dc:description>
  <cp:lastModifiedBy>Jarmila Veresova</cp:lastModifiedBy>
  <cp:revision>366</cp:revision>
  <cp:lastPrinted>2018-10-10T12:00:48Z</cp:lastPrinted>
  <dcterms:created xsi:type="dcterms:W3CDTF">2016-08-31T08:10:03Z</dcterms:created>
  <dcterms:modified xsi:type="dcterms:W3CDTF">2019-01-22T10:05:26Z</dcterms:modified>
</cp:coreProperties>
</file>